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diagrams/layout3.xml" ContentType="application/vnd.openxmlformats-officedocument.drawingml.diagramLayout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47"/>
  </p:notesMasterIdLst>
  <p:handoutMasterIdLst>
    <p:handoutMasterId r:id="rId48"/>
  </p:handoutMasterIdLst>
  <p:sldIdLst>
    <p:sldId id="260" r:id="rId2"/>
    <p:sldId id="306" r:id="rId3"/>
    <p:sldId id="262" r:id="rId4"/>
    <p:sldId id="301" r:id="rId5"/>
    <p:sldId id="302" r:id="rId6"/>
    <p:sldId id="303" r:id="rId7"/>
    <p:sldId id="304" r:id="rId8"/>
    <p:sldId id="307" r:id="rId9"/>
    <p:sldId id="264" r:id="rId10"/>
    <p:sldId id="265" r:id="rId11"/>
    <p:sldId id="266" r:id="rId12"/>
    <p:sldId id="308" r:id="rId13"/>
    <p:sldId id="268" r:id="rId14"/>
    <p:sldId id="269" r:id="rId15"/>
    <p:sldId id="270" r:id="rId16"/>
    <p:sldId id="309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1064"/>
    <a:srgbClr val="005CA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08"/>
    <p:restoredTop sz="94316"/>
  </p:normalViewPr>
  <p:slideViewPr>
    <p:cSldViewPr showGuides="1">
      <p:cViewPr>
        <p:scale>
          <a:sx n="100" d="100"/>
          <a:sy n="100" d="100"/>
        </p:scale>
        <p:origin x="438" y="7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layout/>
    </c:title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53241728"/>
        <c:axId val="53243264"/>
      </c:barChart>
      <c:catAx>
        <c:axId val="53241728"/>
        <c:scaling>
          <c:orientation val="minMax"/>
        </c:scaling>
        <c:axPos val="b"/>
        <c:numFmt formatCode="General" sourceLinked="0"/>
        <c:tickLblPos val="nextTo"/>
        <c:crossAx val="53243264"/>
        <c:crosses val="autoZero"/>
        <c:auto val="1"/>
        <c:lblAlgn val="ctr"/>
        <c:lblOffset val="100"/>
      </c:catAx>
      <c:valAx>
        <c:axId val="53243264"/>
        <c:scaling>
          <c:orientation val="minMax"/>
        </c:scaling>
        <c:axPos val="l"/>
        <c:majorGridlines/>
        <c:numFmt formatCode="General" sourceLinked="1"/>
        <c:tickLblPos val="nextTo"/>
        <c:crossAx val="53241728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layout/>
    </c:title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54365184"/>
        <c:axId val="54346496"/>
      </c:barChart>
      <c:catAx>
        <c:axId val="54365184"/>
        <c:scaling>
          <c:orientation val="minMax"/>
        </c:scaling>
        <c:axPos val="b"/>
        <c:numFmt formatCode="General" sourceLinked="0"/>
        <c:tickLblPos val="nextTo"/>
        <c:crossAx val="54346496"/>
        <c:crosses val="autoZero"/>
        <c:auto val="1"/>
        <c:lblAlgn val="ctr"/>
        <c:lblOffset val="100"/>
      </c:catAx>
      <c:valAx>
        <c:axId val="54346496"/>
        <c:scaling>
          <c:orientation val="minMax"/>
        </c:scaling>
        <c:axPos val="l"/>
        <c:majorGridlines/>
        <c:numFmt formatCode="General" sourceLinked="1"/>
        <c:tickLblPos val="nextTo"/>
        <c:crossAx val="54365184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4CACF14-9D1F-49F0-8D53-34291C6976A5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14FF0A4-D152-4DF3-9BFB-95877F8FEB69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800" b="1" dirty="0" err="1" smtClean="0"/>
            <a:t>Сформированность</a:t>
          </a:r>
          <a:r>
            <a:rPr lang="ru-RU" sz="1800" b="1" dirty="0" smtClean="0"/>
            <a:t> пространственного восприятия и пространственных представлений: ориентировка в понятиях «право» и «лево» в схеме собственного тела и в пространстве</a:t>
          </a:r>
        </a:p>
      </dgm:t>
    </dgm:pt>
    <dgm:pt modelId="{502E88AA-5E6B-4CE1-99ED-97E24519E5D2}" type="parTrans" cxnId="{50EFFA62-A464-41CA-838A-25A6227616AE}">
      <dgm:prSet/>
      <dgm:spPr/>
      <dgm:t>
        <a:bodyPr/>
        <a:lstStyle/>
        <a:p>
          <a:endParaRPr lang="ru-RU"/>
        </a:p>
      </dgm:t>
    </dgm:pt>
    <dgm:pt modelId="{5FA48DB3-DE21-444F-A4C0-88326747E99A}" type="sibTrans" cxnId="{50EFFA62-A464-41CA-838A-25A6227616AE}">
      <dgm:prSet/>
      <dgm:spPr/>
      <dgm:t>
        <a:bodyPr/>
        <a:lstStyle/>
        <a:p>
          <a:endParaRPr lang="ru-RU"/>
        </a:p>
      </dgm:t>
    </dgm:pt>
    <dgm:pt modelId="{10430D8D-54D7-4F83-B613-D03D31CD8379}">
      <dgm:prSet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b="1" dirty="0" smtClean="0"/>
            <a:t>Развитие тонко координированных движений рук;</a:t>
          </a:r>
          <a:endParaRPr lang="ru-RU" b="1" dirty="0"/>
        </a:p>
      </dgm:t>
    </dgm:pt>
    <dgm:pt modelId="{F582F9D1-F179-4677-BA89-130FB8F5CC31}" type="parTrans" cxnId="{3A23B9BA-5E25-4129-BA31-15728B6093AA}">
      <dgm:prSet/>
      <dgm:spPr/>
      <dgm:t>
        <a:bodyPr/>
        <a:lstStyle/>
        <a:p>
          <a:endParaRPr lang="ru-RU"/>
        </a:p>
      </dgm:t>
    </dgm:pt>
    <dgm:pt modelId="{D3D22D88-84A2-48D9-9361-41D60B61BD73}" type="sibTrans" cxnId="{3A23B9BA-5E25-4129-BA31-15728B6093AA}">
      <dgm:prSet/>
      <dgm:spPr/>
      <dgm:t>
        <a:bodyPr/>
        <a:lstStyle/>
        <a:p>
          <a:endParaRPr lang="ru-RU"/>
        </a:p>
      </dgm:t>
    </dgm:pt>
    <dgm:pt modelId="{2C21BA9E-BB7C-4D25-93DC-C339BC923543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b="1" dirty="0" err="1" smtClean="0"/>
            <a:t>Сформированность</a:t>
          </a:r>
          <a:r>
            <a:rPr lang="ru-RU" sz="1600" b="1" dirty="0" smtClean="0"/>
            <a:t> зрительно-моторных (осуществление связи того, что видит, с тем, что записывает) и </a:t>
          </a:r>
          <a:r>
            <a:rPr lang="ru-RU" sz="1600" b="1" dirty="0" err="1" smtClean="0"/>
            <a:t>слухо-моторных</a:t>
          </a:r>
          <a:r>
            <a:rPr lang="ru-RU" sz="1600" b="1" dirty="0" smtClean="0"/>
            <a:t> (осуществление связи того, что слышит, с тем, что записывает) координаций</a:t>
          </a:r>
          <a:endParaRPr lang="ru-RU" sz="1600" b="1" dirty="0"/>
        </a:p>
      </dgm:t>
    </dgm:pt>
    <dgm:pt modelId="{F0D0948F-B5B1-40AD-824B-FA12FB74E4B2}" type="parTrans" cxnId="{35F2C97C-65F7-4650-BA4B-C033C08E9819}">
      <dgm:prSet/>
      <dgm:spPr/>
      <dgm:t>
        <a:bodyPr/>
        <a:lstStyle/>
        <a:p>
          <a:endParaRPr lang="ru-RU"/>
        </a:p>
      </dgm:t>
    </dgm:pt>
    <dgm:pt modelId="{EB43A5FE-19F4-4EE9-AD94-2ED09BD9798D}" type="sibTrans" cxnId="{35F2C97C-65F7-4650-BA4B-C033C08E9819}">
      <dgm:prSet/>
      <dgm:spPr/>
      <dgm:t>
        <a:bodyPr/>
        <a:lstStyle/>
        <a:p>
          <a:endParaRPr lang="ru-RU"/>
        </a:p>
      </dgm:t>
    </dgm:pt>
    <dgm:pt modelId="{0BDF3C95-87FE-405D-8716-C31698B2F6B2}">
      <dgm:prSet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800" dirty="0" err="1" smtClean="0"/>
            <a:t>Сформированность</a:t>
          </a:r>
          <a:r>
            <a:rPr lang="ru-RU" sz="1800" dirty="0" smtClean="0"/>
            <a:t> произвольной деятельности, умения регулировать свои действия, применять волевое усилие</a:t>
          </a:r>
          <a:endParaRPr lang="ru-RU" sz="1800" dirty="0"/>
        </a:p>
      </dgm:t>
    </dgm:pt>
    <dgm:pt modelId="{BD8CB5A7-7397-4383-90E3-8BB0B268211D}" type="parTrans" cxnId="{92347617-5323-49EF-82E2-04FDAE753151}">
      <dgm:prSet/>
      <dgm:spPr/>
      <dgm:t>
        <a:bodyPr/>
        <a:lstStyle/>
        <a:p>
          <a:endParaRPr lang="ru-RU"/>
        </a:p>
      </dgm:t>
    </dgm:pt>
    <dgm:pt modelId="{B2064FD4-FE85-4F42-826D-C3F75164EB35}" type="sibTrans" cxnId="{92347617-5323-49EF-82E2-04FDAE753151}">
      <dgm:prSet/>
      <dgm:spPr/>
      <dgm:t>
        <a:bodyPr/>
        <a:lstStyle/>
        <a:p>
          <a:endParaRPr lang="ru-RU"/>
        </a:p>
      </dgm:t>
    </dgm:pt>
    <dgm:pt modelId="{163AB4B7-3611-416F-875E-E6945186898F}" type="pres">
      <dgm:prSet presAssocID="{84CACF14-9D1F-49F0-8D53-34291C6976A5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6F00FA9-CF67-4B97-828D-59E24D140B93}" type="pres">
      <dgm:prSet presAssocID="{0BDF3C95-87FE-405D-8716-C31698B2F6B2}" presName="node" presStyleLbl="node1" presStyleIdx="0" presStyleCnt="4" custScaleX="258956" custScaleY="135627" custRadScaleRad="177592" custRadScaleInc="-1105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793C25-F561-4437-ACFB-9141FC8BD04A}" type="pres">
      <dgm:prSet presAssocID="{B2064FD4-FE85-4F42-826D-C3F75164EB35}" presName="sibTrans" presStyleLbl="sibTrans2D1" presStyleIdx="0" presStyleCnt="4" custLinFactNeighborX="44875" custLinFactNeighborY="-35778"/>
      <dgm:spPr/>
      <dgm:t>
        <a:bodyPr/>
        <a:lstStyle/>
        <a:p>
          <a:endParaRPr lang="ru-RU"/>
        </a:p>
      </dgm:t>
    </dgm:pt>
    <dgm:pt modelId="{1E941F8D-564E-404E-B2F6-2691D0875AC2}" type="pres">
      <dgm:prSet presAssocID="{B2064FD4-FE85-4F42-826D-C3F75164EB35}" presName="connectorText" presStyleLbl="sibTrans2D1" presStyleIdx="0" presStyleCnt="4"/>
      <dgm:spPr/>
      <dgm:t>
        <a:bodyPr/>
        <a:lstStyle/>
        <a:p>
          <a:endParaRPr lang="ru-RU"/>
        </a:p>
      </dgm:t>
    </dgm:pt>
    <dgm:pt modelId="{BB83C093-201E-4C69-B3DE-C2C2CE60BFB7}" type="pres">
      <dgm:prSet presAssocID="{614FF0A4-D152-4DF3-9BFB-95877F8FEB69}" presName="node" presStyleLbl="node1" presStyleIdx="1" presStyleCnt="4" custScaleX="232824" custScaleY="168423" custRadScaleRad="122845" custRadScaleInc="-2911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799966-15D5-4F88-88AD-6FD962C11C07}" type="pres">
      <dgm:prSet presAssocID="{5FA48DB3-DE21-444F-A4C0-88326747E99A}" presName="sibTrans" presStyleLbl="sibTrans2D1" presStyleIdx="1" presStyleCnt="4" custScaleX="470335" custScaleY="60416" custLinFactX="-508330" custLinFactNeighborX="-600000" custLinFactNeighborY="-43346"/>
      <dgm:spPr/>
      <dgm:t>
        <a:bodyPr/>
        <a:lstStyle/>
        <a:p>
          <a:endParaRPr lang="ru-RU"/>
        </a:p>
      </dgm:t>
    </dgm:pt>
    <dgm:pt modelId="{EA730A51-FE45-4267-AFAE-E7E2FEAE1E14}" type="pres">
      <dgm:prSet presAssocID="{5FA48DB3-DE21-444F-A4C0-88326747E99A}" presName="connectorText" presStyleLbl="sibTrans2D1" presStyleIdx="1" presStyleCnt="4"/>
      <dgm:spPr/>
      <dgm:t>
        <a:bodyPr/>
        <a:lstStyle/>
        <a:p>
          <a:endParaRPr lang="ru-RU"/>
        </a:p>
      </dgm:t>
    </dgm:pt>
    <dgm:pt modelId="{F57D4E81-88FF-4FFF-9D0A-E83E42823935}" type="pres">
      <dgm:prSet presAssocID="{10430D8D-54D7-4F83-B613-D03D31CD8379}" presName="node" presStyleLbl="node1" presStyleIdx="2" presStyleCnt="4" custScaleX="169392" custRadScaleRad="123678" custRadScaleInc="-599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221670-A44C-4F88-A08D-AD0696075FC4}" type="pres">
      <dgm:prSet presAssocID="{D3D22D88-84A2-48D9-9361-41D60B61BD73}" presName="sibTrans" presStyleLbl="sibTrans2D1" presStyleIdx="2" presStyleCnt="4" custScaleX="200146" custScaleY="58076"/>
      <dgm:spPr/>
      <dgm:t>
        <a:bodyPr/>
        <a:lstStyle/>
        <a:p>
          <a:endParaRPr lang="ru-RU"/>
        </a:p>
      </dgm:t>
    </dgm:pt>
    <dgm:pt modelId="{8BF9FF5E-D26A-42D9-97C7-24A46C5ACC53}" type="pres">
      <dgm:prSet presAssocID="{D3D22D88-84A2-48D9-9361-41D60B61BD73}" presName="connectorText" presStyleLbl="sibTrans2D1" presStyleIdx="2" presStyleCnt="4"/>
      <dgm:spPr/>
      <dgm:t>
        <a:bodyPr/>
        <a:lstStyle/>
        <a:p>
          <a:endParaRPr lang="ru-RU"/>
        </a:p>
      </dgm:t>
    </dgm:pt>
    <dgm:pt modelId="{D3EA5275-1457-4A7F-BCD0-4BC2D5044FE2}" type="pres">
      <dgm:prSet presAssocID="{2C21BA9E-BB7C-4D25-93DC-C339BC923543}" presName="node" presStyleLbl="node1" presStyleIdx="3" presStyleCnt="4" custScaleX="206439" custScaleY="151734" custRadScaleRad="181657" custRadScaleInc="-547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EC7778-75CA-48B3-AF30-F334BE82EF7A}" type="pres">
      <dgm:prSet presAssocID="{EB43A5FE-19F4-4EE9-AD94-2ED09BD9798D}" presName="sibTrans" presStyleLbl="sibTrans2D1" presStyleIdx="3" presStyleCnt="4" custAng="19311043" custFlipVert="0" custFlipHor="1" custScaleX="124352" custScaleY="71434" custLinFactX="-224473" custLinFactNeighborX="-300000" custLinFactNeighborY="-33320"/>
      <dgm:spPr/>
      <dgm:t>
        <a:bodyPr/>
        <a:lstStyle/>
        <a:p>
          <a:endParaRPr lang="ru-RU"/>
        </a:p>
      </dgm:t>
    </dgm:pt>
    <dgm:pt modelId="{A70673EA-4ED8-48F8-8DAE-887272F1E1FD}" type="pres">
      <dgm:prSet presAssocID="{EB43A5FE-19F4-4EE9-AD94-2ED09BD9798D}" presName="connectorText" presStyleLbl="sibTrans2D1" presStyleIdx="3" presStyleCnt="4"/>
      <dgm:spPr/>
      <dgm:t>
        <a:bodyPr/>
        <a:lstStyle/>
        <a:p>
          <a:endParaRPr lang="ru-RU"/>
        </a:p>
      </dgm:t>
    </dgm:pt>
  </dgm:ptLst>
  <dgm:cxnLst>
    <dgm:cxn modelId="{778A920F-7E4B-4D06-A3B8-FD8C2A7BC101}" type="presOf" srcId="{B2064FD4-FE85-4F42-826D-C3F75164EB35}" destId="{1E941F8D-564E-404E-B2F6-2691D0875AC2}" srcOrd="1" destOrd="0" presId="urn:microsoft.com/office/officeart/2005/8/layout/cycle2"/>
    <dgm:cxn modelId="{E68998A6-026E-45C5-9A5D-602840D5483A}" type="presOf" srcId="{84CACF14-9D1F-49F0-8D53-34291C6976A5}" destId="{163AB4B7-3611-416F-875E-E6945186898F}" srcOrd="0" destOrd="0" presId="urn:microsoft.com/office/officeart/2005/8/layout/cycle2"/>
    <dgm:cxn modelId="{2E92BDCB-C1CD-4ADF-BCCE-9FA6B9998F95}" type="presOf" srcId="{10430D8D-54D7-4F83-B613-D03D31CD8379}" destId="{F57D4E81-88FF-4FFF-9D0A-E83E42823935}" srcOrd="0" destOrd="0" presId="urn:microsoft.com/office/officeart/2005/8/layout/cycle2"/>
    <dgm:cxn modelId="{92347617-5323-49EF-82E2-04FDAE753151}" srcId="{84CACF14-9D1F-49F0-8D53-34291C6976A5}" destId="{0BDF3C95-87FE-405D-8716-C31698B2F6B2}" srcOrd="0" destOrd="0" parTransId="{BD8CB5A7-7397-4383-90E3-8BB0B268211D}" sibTransId="{B2064FD4-FE85-4F42-826D-C3F75164EB35}"/>
    <dgm:cxn modelId="{768AB39E-DE2B-4DD7-9A8B-57A721ABD8B7}" type="presOf" srcId="{614FF0A4-D152-4DF3-9BFB-95877F8FEB69}" destId="{BB83C093-201E-4C69-B3DE-C2C2CE60BFB7}" srcOrd="0" destOrd="0" presId="urn:microsoft.com/office/officeart/2005/8/layout/cycle2"/>
    <dgm:cxn modelId="{D64E5214-9BAF-4A49-B7FD-C0229501F480}" type="presOf" srcId="{B2064FD4-FE85-4F42-826D-C3F75164EB35}" destId="{5C793C25-F561-4437-ACFB-9141FC8BD04A}" srcOrd="0" destOrd="0" presId="urn:microsoft.com/office/officeart/2005/8/layout/cycle2"/>
    <dgm:cxn modelId="{F5F2FD98-ED81-4B5A-82D7-36EECDE55429}" type="presOf" srcId="{D3D22D88-84A2-48D9-9361-41D60B61BD73}" destId="{8BF9FF5E-D26A-42D9-97C7-24A46C5ACC53}" srcOrd="1" destOrd="0" presId="urn:microsoft.com/office/officeart/2005/8/layout/cycle2"/>
    <dgm:cxn modelId="{E49A1AB3-EAFE-4945-A92C-1888C7C49537}" type="presOf" srcId="{D3D22D88-84A2-48D9-9361-41D60B61BD73}" destId="{19221670-A44C-4F88-A08D-AD0696075FC4}" srcOrd="0" destOrd="0" presId="urn:microsoft.com/office/officeart/2005/8/layout/cycle2"/>
    <dgm:cxn modelId="{636D2D77-9200-401B-A05A-5D80D6D6DDCC}" type="presOf" srcId="{0BDF3C95-87FE-405D-8716-C31698B2F6B2}" destId="{E6F00FA9-CF67-4B97-828D-59E24D140B93}" srcOrd="0" destOrd="0" presId="urn:microsoft.com/office/officeart/2005/8/layout/cycle2"/>
    <dgm:cxn modelId="{484D99B0-B7A5-4B76-8A1F-502F5A788427}" type="presOf" srcId="{5FA48DB3-DE21-444F-A4C0-88326747E99A}" destId="{1C799966-15D5-4F88-88AD-6FD962C11C07}" srcOrd="0" destOrd="0" presId="urn:microsoft.com/office/officeart/2005/8/layout/cycle2"/>
    <dgm:cxn modelId="{50EFFA62-A464-41CA-838A-25A6227616AE}" srcId="{84CACF14-9D1F-49F0-8D53-34291C6976A5}" destId="{614FF0A4-D152-4DF3-9BFB-95877F8FEB69}" srcOrd="1" destOrd="0" parTransId="{502E88AA-5E6B-4CE1-99ED-97E24519E5D2}" sibTransId="{5FA48DB3-DE21-444F-A4C0-88326747E99A}"/>
    <dgm:cxn modelId="{CF309898-7878-4444-827F-EF17783FC505}" type="presOf" srcId="{EB43A5FE-19F4-4EE9-AD94-2ED09BD9798D}" destId="{A70673EA-4ED8-48F8-8DAE-887272F1E1FD}" srcOrd="1" destOrd="0" presId="urn:microsoft.com/office/officeart/2005/8/layout/cycle2"/>
    <dgm:cxn modelId="{3A23B9BA-5E25-4129-BA31-15728B6093AA}" srcId="{84CACF14-9D1F-49F0-8D53-34291C6976A5}" destId="{10430D8D-54D7-4F83-B613-D03D31CD8379}" srcOrd="2" destOrd="0" parTransId="{F582F9D1-F179-4677-BA89-130FB8F5CC31}" sibTransId="{D3D22D88-84A2-48D9-9361-41D60B61BD73}"/>
    <dgm:cxn modelId="{12C4DB34-767D-4A1A-92B7-A511A7CA586D}" type="presOf" srcId="{EB43A5FE-19F4-4EE9-AD94-2ED09BD9798D}" destId="{DBEC7778-75CA-48B3-AF30-F334BE82EF7A}" srcOrd="0" destOrd="0" presId="urn:microsoft.com/office/officeart/2005/8/layout/cycle2"/>
    <dgm:cxn modelId="{E3054E2D-7FA8-45BF-BE10-C51AECB24A08}" type="presOf" srcId="{2C21BA9E-BB7C-4D25-93DC-C339BC923543}" destId="{D3EA5275-1457-4A7F-BCD0-4BC2D5044FE2}" srcOrd="0" destOrd="0" presId="urn:microsoft.com/office/officeart/2005/8/layout/cycle2"/>
    <dgm:cxn modelId="{35F2C97C-65F7-4650-BA4B-C033C08E9819}" srcId="{84CACF14-9D1F-49F0-8D53-34291C6976A5}" destId="{2C21BA9E-BB7C-4D25-93DC-C339BC923543}" srcOrd="3" destOrd="0" parTransId="{F0D0948F-B5B1-40AD-824B-FA12FB74E4B2}" sibTransId="{EB43A5FE-19F4-4EE9-AD94-2ED09BD9798D}"/>
    <dgm:cxn modelId="{AE6BAFB5-740E-4360-9247-5847BD0D51C7}" type="presOf" srcId="{5FA48DB3-DE21-444F-A4C0-88326747E99A}" destId="{EA730A51-FE45-4267-AFAE-E7E2FEAE1E14}" srcOrd="1" destOrd="0" presId="urn:microsoft.com/office/officeart/2005/8/layout/cycle2"/>
    <dgm:cxn modelId="{9D3B72C0-78C5-4558-9E00-0F251FBFDFF1}" type="presParOf" srcId="{163AB4B7-3611-416F-875E-E6945186898F}" destId="{E6F00FA9-CF67-4B97-828D-59E24D140B93}" srcOrd="0" destOrd="0" presId="urn:microsoft.com/office/officeart/2005/8/layout/cycle2"/>
    <dgm:cxn modelId="{4C135C53-DFCE-4814-AAE2-703AB95A7F1A}" type="presParOf" srcId="{163AB4B7-3611-416F-875E-E6945186898F}" destId="{5C793C25-F561-4437-ACFB-9141FC8BD04A}" srcOrd="1" destOrd="0" presId="urn:microsoft.com/office/officeart/2005/8/layout/cycle2"/>
    <dgm:cxn modelId="{2AEF2DC7-8745-4AEF-98FF-E0B5D598CEBA}" type="presParOf" srcId="{5C793C25-F561-4437-ACFB-9141FC8BD04A}" destId="{1E941F8D-564E-404E-B2F6-2691D0875AC2}" srcOrd="0" destOrd="0" presId="urn:microsoft.com/office/officeart/2005/8/layout/cycle2"/>
    <dgm:cxn modelId="{F577B348-6437-4F50-9B44-2D64C958E6D7}" type="presParOf" srcId="{163AB4B7-3611-416F-875E-E6945186898F}" destId="{BB83C093-201E-4C69-B3DE-C2C2CE60BFB7}" srcOrd="2" destOrd="0" presId="urn:microsoft.com/office/officeart/2005/8/layout/cycle2"/>
    <dgm:cxn modelId="{76BDA60E-13F6-42DB-9313-9B022E74D8E6}" type="presParOf" srcId="{163AB4B7-3611-416F-875E-E6945186898F}" destId="{1C799966-15D5-4F88-88AD-6FD962C11C07}" srcOrd="3" destOrd="0" presId="urn:microsoft.com/office/officeart/2005/8/layout/cycle2"/>
    <dgm:cxn modelId="{999A8789-06F9-4FE0-BB88-46F5C0578E7D}" type="presParOf" srcId="{1C799966-15D5-4F88-88AD-6FD962C11C07}" destId="{EA730A51-FE45-4267-AFAE-E7E2FEAE1E14}" srcOrd="0" destOrd="0" presId="urn:microsoft.com/office/officeart/2005/8/layout/cycle2"/>
    <dgm:cxn modelId="{217CB44A-8114-4B55-8822-F46CFB75EA4F}" type="presParOf" srcId="{163AB4B7-3611-416F-875E-E6945186898F}" destId="{F57D4E81-88FF-4FFF-9D0A-E83E42823935}" srcOrd="4" destOrd="0" presId="urn:microsoft.com/office/officeart/2005/8/layout/cycle2"/>
    <dgm:cxn modelId="{DE14D57F-9D19-48B6-A1D0-57B4962DF21D}" type="presParOf" srcId="{163AB4B7-3611-416F-875E-E6945186898F}" destId="{19221670-A44C-4F88-A08D-AD0696075FC4}" srcOrd="5" destOrd="0" presId="urn:microsoft.com/office/officeart/2005/8/layout/cycle2"/>
    <dgm:cxn modelId="{3B39F17F-F4F3-4BCC-95C3-CE30CFFA21F8}" type="presParOf" srcId="{19221670-A44C-4F88-A08D-AD0696075FC4}" destId="{8BF9FF5E-D26A-42D9-97C7-24A46C5ACC53}" srcOrd="0" destOrd="0" presId="urn:microsoft.com/office/officeart/2005/8/layout/cycle2"/>
    <dgm:cxn modelId="{13BF4921-D9B1-4E81-A7DD-67CCDA3E4487}" type="presParOf" srcId="{163AB4B7-3611-416F-875E-E6945186898F}" destId="{D3EA5275-1457-4A7F-BCD0-4BC2D5044FE2}" srcOrd="6" destOrd="0" presId="urn:microsoft.com/office/officeart/2005/8/layout/cycle2"/>
    <dgm:cxn modelId="{C5CA62C9-6DA4-441E-9BFE-4052538CC695}" type="presParOf" srcId="{163AB4B7-3611-416F-875E-E6945186898F}" destId="{DBEC7778-75CA-48B3-AF30-F334BE82EF7A}" srcOrd="7" destOrd="0" presId="urn:microsoft.com/office/officeart/2005/8/layout/cycle2"/>
    <dgm:cxn modelId="{1E945216-A2E4-4224-A174-C09B722C7105}" type="presParOf" srcId="{DBEC7778-75CA-48B3-AF30-F334BE82EF7A}" destId="{A70673EA-4ED8-48F8-8DAE-887272F1E1FD}" srcOrd="0" destOrd="0" presId="urn:microsoft.com/office/officeart/2005/8/layout/cycle2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471044C-7F3D-4C8D-8470-5E76741DC54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45EB81B2-DEF7-4F2B-B5A4-6C8652AAE79D}">
      <dgm:prSet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Сначала он должен провести </a:t>
          </a:r>
          <a:r>
            <a:rPr lang="ru-RU" dirty="0" smtClean="0">
              <a:solidFill>
                <a:srgbClr val="C00000"/>
              </a:solidFill>
            </a:rPr>
            <a:t>звуковой анализ </a:t>
          </a:r>
          <a:r>
            <a:rPr lang="ru-RU" dirty="0" smtClean="0"/>
            <a:t>слова, т. е. выделить последовательность звуков, входящих в состав этого слова</a:t>
          </a:r>
        </a:p>
      </dgm:t>
    </dgm:pt>
    <dgm:pt modelId="{333176E5-7A8B-4729-8E66-C5D1692F4179}" type="parTrans" cxnId="{F7F3C1C5-1D99-4FED-B55B-4916CA05B9B5}">
      <dgm:prSet/>
      <dgm:spPr/>
      <dgm:t>
        <a:bodyPr/>
        <a:lstStyle/>
        <a:p>
          <a:endParaRPr lang="ru-RU"/>
        </a:p>
      </dgm:t>
    </dgm:pt>
    <dgm:pt modelId="{18653691-B2CB-47EE-8518-37F777479D5A}" type="sibTrans" cxnId="{F7F3C1C5-1D99-4FED-B55B-4916CA05B9B5}">
      <dgm:prSet/>
      <dgm:spPr/>
      <dgm:t>
        <a:bodyPr/>
        <a:lstStyle/>
        <a:p>
          <a:endParaRPr lang="ru-RU"/>
        </a:p>
      </dgm:t>
    </dgm:pt>
    <dgm:pt modelId="{9FDD5FA5-A725-4FCA-A046-15DA5C47A31C}">
      <dgm:prSet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dirty="0" smtClean="0"/>
            <a:t>Выделенные звуки превращаются ребёнком в зрительную </a:t>
          </a:r>
          <a:r>
            <a:rPr lang="ru-RU" dirty="0" smtClean="0">
              <a:solidFill>
                <a:schemeClr val="tx2">
                  <a:lumMod val="60000"/>
                  <a:lumOff val="40000"/>
                </a:schemeClr>
              </a:solidFill>
            </a:rPr>
            <a:t>графическую схему,  </a:t>
          </a:r>
          <a:r>
            <a:rPr lang="ru-RU" dirty="0" smtClean="0"/>
            <a:t>(ребёнок представляет себе это слово написанным).</a:t>
          </a:r>
        </a:p>
      </dgm:t>
    </dgm:pt>
    <dgm:pt modelId="{25EC30F4-25D9-470E-BC4C-5F2B6839CAFE}" type="parTrans" cxnId="{9A7393E0-4743-475D-8578-12D0BAEF9A27}">
      <dgm:prSet/>
      <dgm:spPr/>
      <dgm:t>
        <a:bodyPr/>
        <a:lstStyle/>
        <a:p>
          <a:endParaRPr lang="ru-RU"/>
        </a:p>
      </dgm:t>
    </dgm:pt>
    <dgm:pt modelId="{AF7BDEA9-FBDB-4812-B742-6955EE98F567}" type="sibTrans" cxnId="{9A7393E0-4743-475D-8578-12D0BAEF9A27}">
      <dgm:prSet/>
      <dgm:spPr/>
      <dgm:t>
        <a:bodyPr/>
        <a:lstStyle/>
        <a:p>
          <a:endParaRPr lang="ru-RU"/>
        </a:p>
      </dgm:t>
    </dgm:pt>
    <dgm:pt modelId="{ADCCCEA3-E682-4D9C-BC37-EDAD39CD4536}">
      <dgm:prSet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 sz="1600" b="1" dirty="0" smtClean="0"/>
        </a:p>
        <a:p>
          <a:endParaRPr lang="ru-RU" sz="1600" b="1" dirty="0" smtClean="0"/>
        </a:p>
        <a:p>
          <a:r>
            <a:rPr lang="ru-RU" sz="1800" b="1" dirty="0" smtClean="0"/>
            <a:t>Превращение </a:t>
          </a:r>
        </a:p>
        <a:p>
          <a:r>
            <a:rPr lang="ru-RU" sz="1800" b="1" dirty="0" smtClean="0"/>
            <a:t>ребёнком</a:t>
          </a:r>
        </a:p>
        <a:p>
          <a:r>
            <a:rPr lang="ru-RU" sz="1800" b="1" dirty="0" smtClean="0"/>
            <a:t> подлежащих написанию </a:t>
          </a:r>
        </a:p>
        <a:p>
          <a:r>
            <a:rPr lang="ru-RU" sz="1800" b="1" dirty="0" smtClean="0"/>
            <a:t>зрительных образов букв </a:t>
          </a:r>
        </a:p>
        <a:p>
          <a:r>
            <a:rPr lang="ru-RU" sz="1800" b="1" dirty="0" smtClean="0"/>
            <a:t>в </a:t>
          </a:r>
          <a:r>
            <a:rPr lang="ru-RU" sz="1800" b="1" dirty="0" smtClean="0">
              <a:solidFill>
                <a:schemeClr val="accent3">
                  <a:lumMod val="50000"/>
                </a:schemeClr>
              </a:solidFill>
            </a:rPr>
            <a:t>нужные графические начертания</a:t>
          </a:r>
          <a:endParaRPr lang="ru-RU" sz="1800" b="1" dirty="0">
            <a:solidFill>
              <a:schemeClr val="accent3">
                <a:lumMod val="50000"/>
              </a:schemeClr>
            </a:solidFill>
          </a:endParaRPr>
        </a:p>
      </dgm:t>
    </dgm:pt>
    <dgm:pt modelId="{A768CC3C-1538-4AD7-AE8E-BFA8924D961B}" type="parTrans" cxnId="{5766DD4B-1A28-464A-99DF-64342933ED00}">
      <dgm:prSet/>
      <dgm:spPr/>
      <dgm:t>
        <a:bodyPr/>
        <a:lstStyle/>
        <a:p>
          <a:endParaRPr lang="ru-RU"/>
        </a:p>
      </dgm:t>
    </dgm:pt>
    <dgm:pt modelId="{60A3F395-5B68-4266-9CC5-0D197DCBEA51}" type="sibTrans" cxnId="{5766DD4B-1A28-464A-99DF-64342933ED00}">
      <dgm:prSet/>
      <dgm:spPr/>
      <dgm:t>
        <a:bodyPr/>
        <a:lstStyle/>
        <a:p>
          <a:endParaRPr lang="ru-RU"/>
        </a:p>
      </dgm:t>
    </dgm:pt>
    <dgm:pt modelId="{D7F14D5D-4304-464C-B2C7-8D74FA199AD3}" type="pres">
      <dgm:prSet presAssocID="{5471044C-7F3D-4C8D-8470-5E76741DC546}" presName="Name0" presStyleCnt="0">
        <dgm:presLayoutVars>
          <dgm:dir/>
          <dgm:animLvl val="lvl"/>
          <dgm:resizeHandles val="exact"/>
        </dgm:presLayoutVars>
      </dgm:prSet>
      <dgm:spPr/>
    </dgm:pt>
    <dgm:pt modelId="{49835C5D-1AC1-4064-8A73-63665005FFD5}" type="pres">
      <dgm:prSet presAssocID="{ADCCCEA3-E682-4D9C-BC37-EDAD39CD4536}" presName="Name8" presStyleCnt="0"/>
      <dgm:spPr/>
    </dgm:pt>
    <dgm:pt modelId="{2D857301-AB82-4B0B-8BC6-0E4E40280468}" type="pres">
      <dgm:prSet presAssocID="{ADCCCEA3-E682-4D9C-BC37-EDAD39CD4536}" presName="level" presStyleLbl="node1" presStyleIdx="0" presStyleCnt="3" custScaleX="109302" custScaleY="143645" custLinFactNeighborX="1807" custLinFactNeighborY="-916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4E3971-238C-4689-B35C-F3D22840CFE7}" type="pres">
      <dgm:prSet presAssocID="{ADCCCEA3-E682-4D9C-BC37-EDAD39CD453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0F3F14-02AA-4E5F-9CB0-5C7044059064}" type="pres">
      <dgm:prSet presAssocID="{9FDD5FA5-A725-4FCA-A046-15DA5C47A31C}" presName="Name8" presStyleCnt="0"/>
      <dgm:spPr/>
    </dgm:pt>
    <dgm:pt modelId="{2C7D6962-DDAF-4611-99B0-1073E1D2ED01}" type="pres">
      <dgm:prSet presAssocID="{9FDD5FA5-A725-4FCA-A046-15DA5C47A31C}" presName="level" presStyleLbl="node1" presStyleIdx="1" presStyleCnt="3" custScaleX="105317" custLinFactNeighborX="337" custLinFactNeighborY="937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F8A767-75E4-4083-ACD4-6F1C54379CD8}" type="pres">
      <dgm:prSet presAssocID="{9FDD5FA5-A725-4FCA-A046-15DA5C47A31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4FEAB1-4728-4289-ACF2-DAEFA24EA183}" type="pres">
      <dgm:prSet presAssocID="{45EB81B2-DEF7-4F2B-B5A4-6C8652AAE79D}" presName="Name8" presStyleCnt="0"/>
      <dgm:spPr/>
    </dgm:pt>
    <dgm:pt modelId="{3D297EDA-6700-48AC-8822-67E5C1E50668}" type="pres">
      <dgm:prSet presAssocID="{45EB81B2-DEF7-4F2B-B5A4-6C8652AAE79D}" presName="level" presStyleLbl="node1" presStyleIdx="2" presStyleCnt="3" custScaleY="64571" custLinFactNeighborY="250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F24ECA-70BD-4F0C-9770-F349DED57518}" type="pres">
      <dgm:prSet presAssocID="{45EB81B2-DEF7-4F2B-B5A4-6C8652AAE79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766DD4B-1A28-464A-99DF-64342933ED00}" srcId="{5471044C-7F3D-4C8D-8470-5E76741DC546}" destId="{ADCCCEA3-E682-4D9C-BC37-EDAD39CD4536}" srcOrd="0" destOrd="0" parTransId="{A768CC3C-1538-4AD7-AE8E-BFA8924D961B}" sibTransId="{60A3F395-5B68-4266-9CC5-0D197DCBEA51}"/>
    <dgm:cxn modelId="{0F408916-5919-4A39-B40A-A9E753B02B2C}" type="presOf" srcId="{ADCCCEA3-E682-4D9C-BC37-EDAD39CD4536}" destId="{4B4E3971-238C-4689-B35C-F3D22840CFE7}" srcOrd="1" destOrd="0" presId="urn:microsoft.com/office/officeart/2005/8/layout/pyramid1"/>
    <dgm:cxn modelId="{AF149D2A-30A4-4015-9ABD-F9F9D34B3FC7}" type="presOf" srcId="{45EB81B2-DEF7-4F2B-B5A4-6C8652AAE79D}" destId="{8CF24ECA-70BD-4F0C-9770-F349DED57518}" srcOrd="1" destOrd="0" presId="urn:microsoft.com/office/officeart/2005/8/layout/pyramid1"/>
    <dgm:cxn modelId="{7548E282-42F9-4ED4-819F-DDC3A6B3BCA0}" type="presOf" srcId="{9FDD5FA5-A725-4FCA-A046-15DA5C47A31C}" destId="{2C7D6962-DDAF-4611-99B0-1073E1D2ED01}" srcOrd="0" destOrd="0" presId="urn:microsoft.com/office/officeart/2005/8/layout/pyramid1"/>
    <dgm:cxn modelId="{8DE16D88-FD5F-47A8-946C-CDD9260C376E}" type="presOf" srcId="{9FDD5FA5-A725-4FCA-A046-15DA5C47A31C}" destId="{03F8A767-75E4-4083-ACD4-6F1C54379CD8}" srcOrd="1" destOrd="0" presId="urn:microsoft.com/office/officeart/2005/8/layout/pyramid1"/>
    <dgm:cxn modelId="{9A7393E0-4743-475D-8578-12D0BAEF9A27}" srcId="{5471044C-7F3D-4C8D-8470-5E76741DC546}" destId="{9FDD5FA5-A725-4FCA-A046-15DA5C47A31C}" srcOrd="1" destOrd="0" parTransId="{25EC30F4-25D9-470E-BC4C-5F2B6839CAFE}" sibTransId="{AF7BDEA9-FBDB-4812-B742-6955EE98F567}"/>
    <dgm:cxn modelId="{F7F3C1C5-1D99-4FED-B55B-4916CA05B9B5}" srcId="{5471044C-7F3D-4C8D-8470-5E76741DC546}" destId="{45EB81B2-DEF7-4F2B-B5A4-6C8652AAE79D}" srcOrd="2" destOrd="0" parTransId="{333176E5-7A8B-4729-8E66-C5D1692F4179}" sibTransId="{18653691-B2CB-47EE-8518-37F777479D5A}"/>
    <dgm:cxn modelId="{CA234AC1-6D2E-4506-8ABF-00CAD3BFD3E9}" type="presOf" srcId="{45EB81B2-DEF7-4F2B-B5A4-6C8652AAE79D}" destId="{3D297EDA-6700-48AC-8822-67E5C1E50668}" srcOrd="0" destOrd="0" presId="urn:microsoft.com/office/officeart/2005/8/layout/pyramid1"/>
    <dgm:cxn modelId="{9BDB118B-608E-42AA-8B79-F582D2463541}" type="presOf" srcId="{5471044C-7F3D-4C8D-8470-5E76741DC546}" destId="{D7F14D5D-4304-464C-B2C7-8D74FA199AD3}" srcOrd="0" destOrd="0" presId="urn:microsoft.com/office/officeart/2005/8/layout/pyramid1"/>
    <dgm:cxn modelId="{E598889F-064D-4FFB-9D1E-11540164FA98}" type="presOf" srcId="{ADCCCEA3-E682-4D9C-BC37-EDAD39CD4536}" destId="{2D857301-AB82-4B0B-8BC6-0E4E40280468}" srcOrd="0" destOrd="0" presId="urn:microsoft.com/office/officeart/2005/8/layout/pyramid1"/>
    <dgm:cxn modelId="{CF8D4305-0FA8-4650-87BB-3538BA028C86}" type="presParOf" srcId="{D7F14D5D-4304-464C-B2C7-8D74FA199AD3}" destId="{49835C5D-1AC1-4064-8A73-63665005FFD5}" srcOrd="0" destOrd="0" presId="urn:microsoft.com/office/officeart/2005/8/layout/pyramid1"/>
    <dgm:cxn modelId="{BCB11F3C-7E29-4DC9-B6F6-E0D771484E33}" type="presParOf" srcId="{49835C5D-1AC1-4064-8A73-63665005FFD5}" destId="{2D857301-AB82-4B0B-8BC6-0E4E40280468}" srcOrd="0" destOrd="0" presId="urn:microsoft.com/office/officeart/2005/8/layout/pyramid1"/>
    <dgm:cxn modelId="{0000D4D6-4F78-410D-9A1A-B14B2BE55350}" type="presParOf" srcId="{49835C5D-1AC1-4064-8A73-63665005FFD5}" destId="{4B4E3971-238C-4689-B35C-F3D22840CFE7}" srcOrd="1" destOrd="0" presId="urn:microsoft.com/office/officeart/2005/8/layout/pyramid1"/>
    <dgm:cxn modelId="{F0CDD212-C24C-40B3-94C9-C48D2BD9883D}" type="presParOf" srcId="{D7F14D5D-4304-464C-B2C7-8D74FA199AD3}" destId="{C50F3F14-02AA-4E5F-9CB0-5C7044059064}" srcOrd="1" destOrd="0" presId="urn:microsoft.com/office/officeart/2005/8/layout/pyramid1"/>
    <dgm:cxn modelId="{5C9BFC59-1524-486B-BC59-2928B6B72E32}" type="presParOf" srcId="{C50F3F14-02AA-4E5F-9CB0-5C7044059064}" destId="{2C7D6962-DDAF-4611-99B0-1073E1D2ED01}" srcOrd="0" destOrd="0" presId="urn:microsoft.com/office/officeart/2005/8/layout/pyramid1"/>
    <dgm:cxn modelId="{0DAF5541-4215-4813-95D9-FE9BCD9B2A4C}" type="presParOf" srcId="{C50F3F14-02AA-4E5F-9CB0-5C7044059064}" destId="{03F8A767-75E4-4083-ACD4-6F1C54379CD8}" srcOrd="1" destOrd="0" presId="urn:microsoft.com/office/officeart/2005/8/layout/pyramid1"/>
    <dgm:cxn modelId="{063ED8A0-D317-488E-90EC-890D145FF953}" type="presParOf" srcId="{D7F14D5D-4304-464C-B2C7-8D74FA199AD3}" destId="{714FEAB1-4728-4289-ACF2-DAEFA24EA183}" srcOrd="2" destOrd="0" presId="urn:microsoft.com/office/officeart/2005/8/layout/pyramid1"/>
    <dgm:cxn modelId="{16D1E925-0ABB-4FFA-AEEE-315BC63192AC}" type="presParOf" srcId="{714FEAB1-4728-4289-ACF2-DAEFA24EA183}" destId="{3D297EDA-6700-48AC-8822-67E5C1E50668}" srcOrd="0" destOrd="0" presId="urn:microsoft.com/office/officeart/2005/8/layout/pyramid1"/>
    <dgm:cxn modelId="{EF357FDF-CAAC-46B8-9D67-229C0D5C46A5}" type="presParOf" srcId="{714FEAB1-4728-4289-ACF2-DAEFA24EA183}" destId="{8CF24ECA-70BD-4F0C-9770-F349DED57518}" srcOrd="1" destOrd="0" presId="urn:microsoft.com/office/officeart/2005/8/layout/pyramid1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9710A2-4D68-4A19-A6E5-229740FA467A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41F2650-FE09-41F9-8A96-69189DF659C5}">
      <dgm:prSet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дети с очень высоким уровнем готовности к обучению.</a:t>
          </a:r>
          <a:endParaRPr lang="ru-RU" sz="1400" b="1" dirty="0">
            <a:solidFill>
              <a:schemeClr val="tx1"/>
            </a:solidFill>
          </a:endParaRPr>
        </a:p>
      </dgm:t>
    </dgm:pt>
    <dgm:pt modelId="{95FBBE58-C0AE-4140-9476-298FCE8539E6}" type="parTrans" cxnId="{125B792C-EC71-4101-8093-24D231B7F132}">
      <dgm:prSet/>
      <dgm:spPr/>
      <dgm:t>
        <a:bodyPr/>
        <a:lstStyle/>
        <a:p>
          <a:endParaRPr lang="ru-RU"/>
        </a:p>
      </dgm:t>
    </dgm:pt>
    <dgm:pt modelId="{739765B6-3300-4D9E-B755-5EDF55378D04}" type="sibTrans" cxnId="{125B792C-EC71-4101-8093-24D231B7F132}">
      <dgm:prSet/>
      <dgm:spPr/>
      <dgm:t>
        <a:bodyPr/>
        <a:lstStyle/>
        <a:p>
          <a:endParaRPr lang="ru-RU"/>
        </a:p>
      </dgm:t>
    </dgm:pt>
    <dgm:pt modelId="{A4542198-9E0B-4847-87FA-2C45A9B90CCD}" type="pres">
      <dgm:prSet presAssocID="{D59710A2-4D68-4A19-A6E5-229740FA467A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B7DD1E0-64A3-4C89-BAF5-20241828B8B0}" type="pres">
      <dgm:prSet presAssocID="{641F2650-FE09-41F9-8A96-69189DF659C5}" presName="horFlow" presStyleCnt="0"/>
      <dgm:spPr/>
    </dgm:pt>
    <dgm:pt modelId="{4F4E2FF2-ED84-4DEF-923F-9F446E0CF92F}" type="pres">
      <dgm:prSet presAssocID="{641F2650-FE09-41F9-8A96-69189DF659C5}" presName="bigChev" presStyleLbl="node1" presStyleIdx="0" presStyleCnt="1" custScaleX="195548" custScaleY="137944" custLinFactNeighborX="1395" custLinFactNeighborY="49338"/>
      <dgm:spPr/>
      <dgm:t>
        <a:bodyPr/>
        <a:lstStyle/>
        <a:p>
          <a:endParaRPr lang="ru-RU"/>
        </a:p>
      </dgm:t>
    </dgm:pt>
  </dgm:ptLst>
  <dgm:cxnLst>
    <dgm:cxn modelId="{125B792C-EC71-4101-8093-24D231B7F132}" srcId="{D59710A2-4D68-4A19-A6E5-229740FA467A}" destId="{641F2650-FE09-41F9-8A96-69189DF659C5}" srcOrd="0" destOrd="0" parTransId="{95FBBE58-C0AE-4140-9476-298FCE8539E6}" sibTransId="{739765B6-3300-4D9E-B755-5EDF55378D04}"/>
    <dgm:cxn modelId="{67215CB4-5E8C-46C7-A47E-39DF62952A15}" type="presOf" srcId="{D59710A2-4D68-4A19-A6E5-229740FA467A}" destId="{A4542198-9E0B-4847-87FA-2C45A9B90CCD}" srcOrd="0" destOrd="0" presId="urn:microsoft.com/office/officeart/2005/8/layout/lProcess3"/>
    <dgm:cxn modelId="{5D95921F-53CE-4C2B-B8A7-A1F98E5A7CD2}" type="presOf" srcId="{641F2650-FE09-41F9-8A96-69189DF659C5}" destId="{4F4E2FF2-ED84-4DEF-923F-9F446E0CF92F}" srcOrd="0" destOrd="0" presId="urn:microsoft.com/office/officeart/2005/8/layout/lProcess3"/>
    <dgm:cxn modelId="{E0BF88CB-4228-4F2A-B637-45DB3950890B}" type="presParOf" srcId="{A4542198-9E0B-4847-87FA-2C45A9B90CCD}" destId="{3B7DD1E0-64A3-4C89-BAF5-20241828B8B0}" srcOrd="0" destOrd="0" presId="urn:microsoft.com/office/officeart/2005/8/layout/lProcess3"/>
    <dgm:cxn modelId="{FA169F13-9909-4CEF-B470-F70CBC22AF88}" type="presParOf" srcId="{3B7DD1E0-64A3-4C89-BAF5-20241828B8B0}" destId="{4F4E2FF2-ED84-4DEF-923F-9F446E0CF92F}" srcOrd="0" destOrd="0" presId="urn:microsoft.com/office/officeart/2005/8/layout/lProcess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09FA0-E13B-4CA2-B3B4-2E146464A1FC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A61059-A4C8-477E-B008-A1186E26CAD1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0E5ED31-4C68-498A-9108-2AE0278C44CB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mtClean="0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УМК «Начальная школа ХХ1 века» создан авторским коллективом , сотрудниками Центра начального образования Института содержания и методов обучения Российской академии образования, под руководством доктора педагогических наук, профессора, члена-корреспондента РАО  </a:t>
            </a:r>
            <a:r>
              <a:rPr lang="ru-RU" sz="1400" b="1" smtClean="0"/>
              <a:t>Натальи Федоровны Виноградовой.</a:t>
            </a:r>
          </a:p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36F7686-39BF-4BA5-AA74-7F059D8A1546}" type="slidenum">
              <a:rPr lang="ru-RU" altLang="ru-RU"/>
              <a:pPr/>
              <a:t>8</a:t>
            </a:fld>
            <a:endParaRPr lang="ru-RU" altLang="ru-RU"/>
          </a:p>
        </p:txBody>
      </p:sp>
      <p:sp>
        <p:nvSpPr>
          <p:cNvPr id="50179" name="Rectangle 7"/>
          <p:cNvSpPr txBox="1">
            <a:spLocks noGrp="1" noChangeArrowheads="1"/>
          </p:cNvSpPr>
          <p:nvPr/>
        </p:nvSpPr>
        <p:spPr bwMode="auto">
          <a:xfrm>
            <a:off x="3884613" y="8685215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1" hangingPunct="1"/>
            <a:fld id="{7783A568-6122-4581-AB7F-66547A05E3A6}" type="slidenum">
              <a:rPr lang="ru-RU" altLang="ru-RU" sz="1200"/>
              <a:pPr algn="r" eaLnBrk="1" hangingPunct="1"/>
              <a:t>8</a:t>
            </a:fld>
            <a:endParaRPr lang="ru-RU" altLang="ru-RU" sz="1200"/>
          </a:p>
        </p:txBody>
      </p:sp>
      <p:sp>
        <p:nvSpPr>
          <p:cNvPr id="501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>
            <a:normAutofit fontScale="85000" lnSpcReduction="20000"/>
          </a:bodyPr>
          <a:lstStyle/>
          <a:p>
            <a:pPr eaLnBrk="1" hangingPunct="1"/>
            <a:r>
              <a:rPr lang="ru-RU" altLang="ru-RU" b="0" dirty="0">
                <a:latin typeface="Arial" pitchFamily="34" charset="0"/>
              </a:rPr>
              <a:t> Раздел "Учимся думать, рассуждать, фантазировать 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Включает знания и умения, являющиеся средством развития мышления и воображения. Особое внимание уделяется осознанию детьми некоторых доступных связей (причинных, временных, последовательных) между предметами и объектами окружающего мира, а также развитию моделирующей деятельности как основы для формирования наглядно-образного, а затем и логического мышления. 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В данном разделе представлены знания и умения, обеспечивающие специальную подготовку к учебным предметам начальной школы, прежде всего, к "Русскому языку", "Математике", а также "Окружающему миру". 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Для реализации этого раздела программы рекомендуется использование пособий  из серии "</a:t>
            </a:r>
            <a:r>
              <a:rPr lang="ru-RU" altLang="ru-RU" b="0" dirty="0" err="1">
                <a:latin typeface="Arial" pitchFamily="34" charset="0"/>
              </a:rPr>
              <a:t>Предшкольная</a:t>
            </a:r>
            <a:r>
              <a:rPr lang="ru-RU" altLang="ru-RU" b="0" dirty="0">
                <a:latin typeface="Arial" pitchFamily="34" charset="0"/>
              </a:rPr>
              <a:t> пора":</a:t>
            </a:r>
          </a:p>
          <a:p>
            <a:pPr eaLnBrk="1" hangingPunct="1"/>
            <a:r>
              <a:rPr lang="ru-RU" altLang="ru-RU" b="0" dirty="0" err="1">
                <a:latin typeface="Arial" pitchFamily="34" charset="0"/>
              </a:rPr>
              <a:t>Салмина</a:t>
            </a:r>
            <a:r>
              <a:rPr lang="ru-RU" altLang="ru-RU" b="0" dirty="0">
                <a:latin typeface="Arial" pitchFamily="34" charset="0"/>
              </a:rPr>
              <a:t> Н.Г. « Учимся думать";</a:t>
            </a:r>
          </a:p>
          <a:p>
            <a:pPr eaLnBrk="1" hangingPunct="1"/>
            <a:r>
              <a:rPr lang="ru-RU" altLang="ru-RU" b="0" dirty="0" err="1">
                <a:latin typeface="Arial" pitchFamily="34" charset="0"/>
              </a:rPr>
              <a:t>Салмина</a:t>
            </a:r>
            <a:r>
              <a:rPr lang="ru-RU" altLang="ru-RU" b="0" dirty="0">
                <a:latin typeface="Arial" pitchFamily="34" charset="0"/>
              </a:rPr>
              <a:t> Н.Г., Филимонова О.Г. "Путешествуем по сказкам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Виноградова Н.Ф. "Рассказы-загадки о природе";</a:t>
            </a:r>
          </a:p>
          <a:p>
            <a:pPr eaLnBrk="1" hangingPunct="1"/>
            <a:r>
              <a:rPr lang="ru-RU" altLang="ru-RU" b="0" dirty="0" err="1">
                <a:latin typeface="Arial" pitchFamily="34" charset="0"/>
              </a:rPr>
              <a:t>Златопольский</a:t>
            </a:r>
            <a:r>
              <a:rPr lang="ru-RU" altLang="ru-RU" b="0" dirty="0">
                <a:latin typeface="Arial" pitchFamily="34" charset="0"/>
              </a:rPr>
              <a:t> Д.С. "Удивительные превращения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 Куликова Т.А. "Что, где, почему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 Щербакова Г.И. "Знакомимся с математикой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СЛАЙД 45. Раздел "Учимся родному языку"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Раздел предназначен для обучения детей с родным языком – русским, но также может использоваться и для обучения детей на родном – нерусском языке. Раздел обеспечивает обогащение активного словаря ребенка, характеризующими качествами и свойства предметов, обобщающими словами, связной речи, формирование умений составлять описательный, повествовательный рассказ, рассказ-рассуждение. Особое внимание уделено специальной подготовке к изучению русского языка в школе, обучению чтению и подготовке руки ребенка к письму. Большое внимание уделяется развитию фантазии, воображения, словесного творчества ребенка.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Для реализации этого раздела программы рекомендуется использование пособий  из серии "</a:t>
            </a:r>
            <a:r>
              <a:rPr lang="ru-RU" altLang="ru-RU" b="0" dirty="0" err="1">
                <a:latin typeface="Arial" pitchFamily="34" charset="0"/>
              </a:rPr>
              <a:t>Предшкольная</a:t>
            </a:r>
            <a:r>
              <a:rPr lang="ru-RU" altLang="ru-RU" b="0" dirty="0">
                <a:latin typeface="Arial" pitchFamily="34" charset="0"/>
              </a:rPr>
              <a:t> пора":</a:t>
            </a:r>
          </a:p>
          <a:p>
            <a:pPr eaLnBrk="1" hangingPunct="1"/>
            <a:r>
              <a:rPr lang="ru-RU" altLang="ru-RU" b="0" dirty="0" err="1">
                <a:latin typeface="Arial" pitchFamily="34" charset="0"/>
              </a:rPr>
              <a:t>Журова</a:t>
            </a:r>
            <a:r>
              <a:rPr lang="ru-RU" altLang="ru-RU" b="0" dirty="0">
                <a:latin typeface="Arial" pitchFamily="34" charset="0"/>
              </a:rPr>
              <a:t> Л.Е., Кузнецова М.И. "Азбука для дошкольников. Играем со звуками и словами";</a:t>
            </a:r>
          </a:p>
          <a:p>
            <a:pPr eaLnBrk="1" hangingPunct="1"/>
            <a:r>
              <a:rPr lang="ru-RU" altLang="ru-RU" b="0" dirty="0" err="1">
                <a:latin typeface="Arial" pitchFamily="34" charset="0"/>
              </a:rPr>
              <a:t>Журова</a:t>
            </a:r>
            <a:r>
              <a:rPr lang="ru-RU" altLang="ru-RU" b="0" dirty="0">
                <a:latin typeface="Arial" pitchFamily="34" charset="0"/>
              </a:rPr>
              <a:t> Л.Е., Кузнецова М.И. "Азбука для дошкольников. Играем и читаем вместе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Виноградова Н.Ф. "Придумай и расскажи";</a:t>
            </a:r>
          </a:p>
          <a:p>
            <a:pPr eaLnBrk="1" hangingPunct="1"/>
            <a:r>
              <a:rPr lang="ru-RU" altLang="ru-RU" b="0" dirty="0">
                <a:latin typeface="Arial" pitchFamily="34" charset="0"/>
              </a:rPr>
              <a:t>Виноградова Н.Ф. "Рассказы-загадки о природе".   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5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170878" y="1143000"/>
            <a:ext cx="4516244" cy="3086100"/>
          </a:xfrm>
          <a:custGeom>
            <a:avLst/>
            <a:gdLst>
              <a:gd name="T0" fmla="*/ 0 w 120000"/>
              <a:gd name="T1" fmla="*/ 0 h 120000"/>
              <a:gd name="T2" fmla="*/ 2147483647 w 120000"/>
              <a:gd name="T3" fmla="*/ 0 h 120000"/>
              <a:gd name="T4" fmla="*/ 2147483647 w 120000"/>
              <a:gd name="T5" fmla="*/ 2147483647 h 120000"/>
              <a:gd name="T6" fmla="*/ 0 w 120000"/>
              <a:gd name="T7" fmla="*/ 2147483647 h 120000"/>
              <a:gd name="T8" fmla="*/ 0 60000 65536"/>
              <a:gd name="T9" fmla="*/ 0 60000 65536"/>
              <a:gd name="T10" fmla="*/ 0 60000 65536"/>
              <a:gd name="T11" fmla="*/ 0 60000 65536"/>
              <a:gd name="T12" fmla="*/ 0 w 120000"/>
              <a:gd name="T13" fmla="*/ 0 h 120000"/>
              <a:gd name="T14" fmla="*/ 120000 w 120000"/>
              <a:gd name="T15" fmla="*/ 120000 h 12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308226" name="Shape 243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SzPct val="25000"/>
            </a:pPr>
            <a:endParaRPr lang="ru-RU" smtClean="0">
              <a:solidFill>
                <a:srgbClr val="000000"/>
              </a:solidFill>
              <a:sym typeface="Calibri" pitchFamily="34" charset="0"/>
            </a:endParaRPr>
          </a:p>
        </p:txBody>
      </p:sp>
      <p:sp>
        <p:nvSpPr>
          <p:cNvPr id="308227" name="Shape 244"/>
          <p:cNvSpPr txBox="1">
            <a:spLocks noGrp="1"/>
          </p:cNvSpPr>
          <p:nvPr/>
        </p:nvSpPr>
        <p:spPr bwMode="auto">
          <a:xfrm>
            <a:off x="3884614" y="8685214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00" rIns="91425" bIns="45700" anchor="b"/>
          <a:lstStyle/>
          <a:p>
            <a:pPr algn="r">
              <a:buSzPct val="25000"/>
            </a:pPr>
            <a:fld id="{7752161E-2818-4E96-8990-DFDA441E5712}" type="slidenum">
              <a:rPr lang="en-US" sz="1200" i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pPr algn="r">
                <a:buSzPct val="25000"/>
              </a:pPr>
              <a:t>44</a:t>
            </a:fld>
            <a:endParaRPr lang="en-US" sz="1200" i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5" name="Shape 242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1170878" y="1143000"/>
            <a:ext cx="4516244" cy="3086100"/>
          </a:xfrm>
          <a:custGeom>
            <a:avLst/>
            <a:gdLst>
              <a:gd name="T0" fmla="*/ 0 w 120000"/>
              <a:gd name="T1" fmla="*/ 0 h 120000"/>
              <a:gd name="T2" fmla="*/ 2147483647 w 120000"/>
              <a:gd name="T3" fmla="*/ 0 h 120000"/>
              <a:gd name="T4" fmla="*/ 2147483647 w 120000"/>
              <a:gd name="T5" fmla="*/ 2147483647 h 120000"/>
              <a:gd name="T6" fmla="*/ 0 w 120000"/>
              <a:gd name="T7" fmla="*/ 2147483647 h 120000"/>
              <a:gd name="T8" fmla="*/ 0 60000 65536"/>
              <a:gd name="T9" fmla="*/ 0 60000 65536"/>
              <a:gd name="T10" fmla="*/ 0 60000 65536"/>
              <a:gd name="T11" fmla="*/ 0 60000 65536"/>
              <a:gd name="T12" fmla="*/ 0 w 120000"/>
              <a:gd name="T13" fmla="*/ 0 h 120000"/>
              <a:gd name="T14" fmla="*/ 120000 w 120000"/>
              <a:gd name="T15" fmla="*/ 120000 h 12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med" len="med"/>
            <a:tailEnd type="none" w="med" len="med"/>
          </a:ln>
        </p:spPr>
      </p:sp>
      <p:sp>
        <p:nvSpPr>
          <p:cNvPr id="308226" name="Shape 243"/>
          <p:cNvSpPr>
            <a:spLocks noGrp="1"/>
          </p:cNvSpPr>
          <p:nvPr>
            <p:ph type="body" idx="1"/>
          </p:nvPr>
        </p:nvSpPr>
        <p:spPr bwMode="auto">
          <a:xfrm>
            <a:off x="685800" y="4400550"/>
            <a:ext cx="5486400" cy="3600450"/>
          </a:xfrm>
          <a:noFill/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SzPct val="25000"/>
            </a:pPr>
            <a:endParaRPr lang="ru-RU" smtClean="0">
              <a:solidFill>
                <a:srgbClr val="000000"/>
              </a:solidFill>
              <a:sym typeface="Calibri" pitchFamily="34" charset="0"/>
            </a:endParaRPr>
          </a:p>
        </p:txBody>
      </p:sp>
      <p:sp>
        <p:nvSpPr>
          <p:cNvPr id="308227" name="Shape 244"/>
          <p:cNvSpPr txBox="1">
            <a:spLocks noGrp="1"/>
          </p:cNvSpPr>
          <p:nvPr/>
        </p:nvSpPr>
        <p:spPr bwMode="auto">
          <a:xfrm>
            <a:off x="3884614" y="8685214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00" rIns="91425" bIns="45700" anchor="b"/>
          <a:lstStyle/>
          <a:p>
            <a:pPr algn="r">
              <a:buSzPct val="25000"/>
            </a:pPr>
            <a:fld id="{7752161E-2818-4E96-8990-DFDA441E5712}" type="slidenum">
              <a:rPr lang="en-US" sz="1200" i="0">
                <a:solidFill>
                  <a:srgbClr val="000000"/>
                </a:solidFill>
                <a:latin typeface="Calibri" pitchFamily="34" charset="0"/>
                <a:sym typeface="Calibri" pitchFamily="34" charset="0"/>
              </a:rPr>
              <a:pPr algn="r">
                <a:buSzPct val="25000"/>
              </a:pPr>
              <a:t>45</a:t>
            </a:fld>
            <a:endParaRPr lang="en-US" sz="1200" i="0">
              <a:solidFill>
                <a:srgbClr val="000000"/>
              </a:solidFill>
              <a:latin typeface="Calibri" pitchFamily="34" charset="0"/>
              <a:sym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825" y="6329363"/>
            <a:ext cx="3276600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AA1C88-75FC-46D9-A83E-F5A3B5C68CB4}" type="datetime1">
              <a:rPr lang="ru-RU"/>
              <a:pPr>
                <a:defRPr/>
              </a:pPr>
              <a:t>06.06.2017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4ED55-CDAE-4F7C-A52F-EA43DFCA4E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103188"/>
            <a:ext cx="8243887" cy="13144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4561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4561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4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4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8F4231-2EEE-4BAE-8019-B1DF179AAE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06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0" r:id="rId24"/>
    <p:sldLayoutId id="2147483731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VTS_01_1.VOB" TargetMode="External"/><Relationship Id="rId2" Type="http://schemas.openxmlformats.org/officeDocument/2006/relationships/hyperlink" Target="VTS_01_3.VOB" TargetMode="Externa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hyperlink" Target="mailto:Terehova.ya@vgf.ru" TargetMode="Externa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9.jpeg"/><Relationship Id="rId4" Type="http://schemas.openxmlformats.org/officeDocument/2006/relationships/image" Target="../media/image88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9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96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02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1.jpeg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6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openxmlformats.org/officeDocument/2006/relationships/image" Target="../media/image109.jpe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jpe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jpeg"/><Relationship Id="rId9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4.jpeg"/><Relationship Id="rId11" Type="http://schemas.openxmlformats.org/officeDocument/2006/relationships/image" Target="../media/image49.jpeg"/><Relationship Id="rId5" Type="http://schemas.openxmlformats.org/officeDocument/2006/relationships/image" Target="../media/image43.jpeg"/><Relationship Id="rId15" Type="http://schemas.openxmlformats.org/officeDocument/2006/relationships/image" Target="../media/image53.jpe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jpeg"/><Relationship Id="rId14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-1" y="2808279"/>
            <a:ext cx="3768715" cy="3395709"/>
          </a:xfrm>
        </p:spPr>
        <p:txBody>
          <a:bodyPr/>
          <a:lstStyle/>
          <a:p>
            <a:r>
              <a:rPr lang="ru-RU" sz="1600" dirty="0" smtClean="0"/>
              <a:t> </a:t>
            </a:r>
            <a:r>
              <a:rPr lang="ru-RU" sz="1600" b="1" dirty="0" smtClean="0"/>
              <a:t>Низкий уровень произвольности.</a:t>
            </a:r>
          </a:p>
          <a:p>
            <a:endParaRPr lang="ru-RU" sz="1600" b="1" dirty="0" smtClean="0"/>
          </a:p>
          <a:p>
            <a:endParaRPr lang="ru-RU" sz="1600" b="1" dirty="0" smtClean="0"/>
          </a:p>
          <a:p>
            <a:r>
              <a:rPr lang="ru-RU" sz="1600" b="1" dirty="0" smtClean="0"/>
              <a:t>Неумение сосредотачиваться на поставленной учебной задаче; незнание способов  выполнения и неумения осуществлять их в правильной последовательности</a:t>
            </a:r>
            <a:r>
              <a:rPr lang="ru-RU" sz="1600" dirty="0" smtClean="0"/>
              <a:t> .</a:t>
            </a:r>
          </a:p>
          <a:p>
            <a:endParaRPr lang="ru-RU" sz="1600" b="1" dirty="0" smtClean="0"/>
          </a:p>
          <a:p>
            <a:r>
              <a:rPr lang="ru-RU" sz="1600" b="1" dirty="0" smtClean="0"/>
              <a:t>Неумение правильно оценивать свои действия</a:t>
            </a:r>
          </a:p>
          <a:p>
            <a:pPr>
              <a:buNone/>
            </a:pPr>
            <a:r>
              <a:rPr lang="ru-RU" sz="1600" b="1" dirty="0" smtClean="0"/>
              <a:t>     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6251598" y="2004993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98952" y="2771766"/>
            <a:ext cx="434504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sz="1600" b="1" dirty="0" smtClean="0"/>
              <a:t>Дети должны быть достаточно активны</a:t>
            </a:r>
          </a:p>
          <a:p>
            <a:pPr algn="ctr">
              <a:buNone/>
            </a:pPr>
            <a:r>
              <a:rPr lang="ru-RU" sz="1600" b="1" dirty="0" smtClean="0"/>
              <a:t> и самостоятельны в учебной работе.</a:t>
            </a:r>
          </a:p>
          <a:p>
            <a:pPr algn="ctr">
              <a:buNone/>
            </a:pPr>
            <a:r>
              <a:rPr lang="ru-RU" sz="1600" b="1" dirty="0" smtClean="0"/>
              <a:t> </a:t>
            </a:r>
          </a:p>
          <a:p>
            <a:pPr algn="ctr">
              <a:buNone/>
            </a:pPr>
            <a:endParaRPr lang="ru-RU" sz="1600" b="1" dirty="0" smtClean="0"/>
          </a:p>
          <a:p>
            <a:pPr algn="ctr">
              <a:buNone/>
            </a:pPr>
            <a:endParaRPr lang="ru-RU" sz="1600" b="1" dirty="0" smtClean="0"/>
          </a:p>
          <a:p>
            <a:pPr algn="ctr">
              <a:buNone/>
            </a:pPr>
            <a:r>
              <a:rPr lang="ru-RU" sz="1600" b="1" dirty="0" smtClean="0"/>
              <a:t>Их необходимо научить планировать</a:t>
            </a:r>
          </a:p>
          <a:p>
            <a:pPr algn="ctr">
              <a:buNone/>
            </a:pPr>
            <a:r>
              <a:rPr lang="ru-RU" sz="1600" b="1" dirty="0" smtClean="0"/>
              <a:t> и контролировать свои действия.</a:t>
            </a:r>
          </a:p>
          <a:p>
            <a:pPr algn="ctr">
              <a:buNone/>
            </a:pPr>
            <a:endParaRPr lang="ru-RU" sz="1600" b="1" dirty="0" smtClean="0"/>
          </a:p>
          <a:p>
            <a:pPr algn="ctr">
              <a:buNone/>
            </a:pPr>
            <a:endParaRPr lang="ru-RU" sz="1600" b="1" dirty="0" smtClean="0"/>
          </a:p>
          <a:p>
            <a:pPr algn="ctr">
              <a:buNone/>
            </a:pPr>
            <a:endParaRPr lang="ru-RU" sz="1600" b="1" dirty="0" smtClean="0"/>
          </a:p>
          <a:p>
            <a:pPr algn="ctr">
              <a:buNone/>
            </a:pPr>
            <a:r>
              <a:rPr lang="ru-RU" sz="1600" b="1" dirty="0" smtClean="0"/>
              <a:t>А так же оценивать правильность </a:t>
            </a:r>
          </a:p>
          <a:p>
            <a:pPr algn="ctr">
              <a:buNone/>
            </a:pPr>
            <a:r>
              <a:rPr lang="ru-RU" sz="1600" b="1" dirty="0" smtClean="0"/>
              <a:t>выполнения собственной работы.</a:t>
            </a:r>
            <a:endParaRPr lang="ru-RU" sz="1600" b="1" dirty="0"/>
          </a:p>
        </p:txBody>
      </p:sp>
      <p:sp>
        <p:nvSpPr>
          <p:cNvPr id="9" name="Стрелка вправо 8"/>
          <p:cNvSpPr/>
          <p:nvPr/>
        </p:nvSpPr>
        <p:spPr>
          <a:xfrm>
            <a:off x="3805227" y="2881305"/>
            <a:ext cx="978408" cy="328617"/>
          </a:xfrm>
          <a:prstGeom prst="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право 9"/>
          <p:cNvSpPr/>
          <p:nvPr/>
        </p:nvSpPr>
        <p:spPr>
          <a:xfrm>
            <a:off x="3805227" y="4013208"/>
            <a:ext cx="978408" cy="328617"/>
          </a:xfrm>
          <a:prstGeom prst="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3798" name="Picture 6" descr="Картинки по запросу фото школьник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56208" y="215856"/>
            <a:ext cx="3410004" cy="2555910"/>
          </a:xfrm>
          <a:prstGeom prst="rect">
            <a:avLst/>
          </a:prstGeom>
          <a:noFill/>
        </p:spPr>
      </p:pic>
      <p:pic>
        <p:nvPicPr>
          <p:cNvPr id="33800" name="Picture 8" descr="Картинки по запросу фото дошкольника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7414" y="252369"/>
            <a:ext cx="3462781" cy="2592423"/>
          </a:xfrm>
          <a:prstGeom prst="rect">
            <a:avLst/>
          </a:prstGeom>
          <a:noFill/>
        </p:spPr>
      </p:pic>
      <p:sp>
        <p:nvSpPr>
          <p:cNvPr id="14" name="Стрелка вправо 13"/>
          <p:cNvSpPr/>
          <p:nvPr/>
        </p:nvSpPr>
        <p:spPr>
          <a:xfrm>
            <a:off x="3768714" y="5364189"/>
            <a:ext cx="978408" cy="328617"/>
          </a:xfrm>
          <a:prstGeom prst="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609600" y="269032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32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32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3805227" y="1712889"/>
            <a:ext cx="978408" cy="328617"/>
          </a:xfrm>
          <a:prstGeom prst="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05227" y="288882"/>
            <a:ext cx="912825" cy="1329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414" y="116632"/>
            <a:ext cx="8909172" cy="1143000"/>
          </a:xfrm>
        </p:spPr>
        <p:txBody>
          <a:bodyPr/>
          <a:lstStyle/>
          <a:p>
            <a:pPr algn="ctr"/>
            <a:r>
              <a:rPr lang="ru-RU" sz="2400" b="1" dirty="0" smtClean="0"/>
              <a:t>Как можно научить детей решать любую </a:t>
            </a:r>
            <a:br>
              <a:rPr lang="ru-RU" sz="2400" b="1" dirty="0" smtClean="0"/>
            </a:br>
            <a:r>
              <a:rPr lang="ru-RU" sz="2400" b="1" dirty="0" smtClean="0"/>
              <a:t>практическую задачу как учебную</a:t>
            </a:r>
            <a:endParaRPr lang="ru-RU" sz="24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9383" t="24985" r="35459" b="18586"/>
          <a:stretch>
            <a:fillRect/>
          </a:stretch>
        </p:blipFill>
        <p:spPr bwMode="auto">
          <a:xfrm>
            <a:off x="214283" y="1643050"/>
            <a:ext cx="3071834" cy="40783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 l="29593" t="19864" r="35780" b="27399"/>
          <a:stretch>
            <a:fillRect/>
          </a:stretch>
        </p:blipFill>
        <p:spPr bwMode="auto">
          <a:xfrm>
            <a:off x="3500430" y="1571612"/>
            <a:ext cx="2848014" cy="4148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Содержимое 2"/>
          <p:cNvSpPr txBox="1">
            <a:spLocks/>
          </p:cNvSpPr>
          <p:nvPr/>
        </p:nvSpPr>
        <p:spPr bwMode="auto">
          <a:xfrm>
            <a:off x="6142058" y="1493811"/>
            <a:ext cx="2848015" cy="474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1.Учитель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ави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еред  детьми учебную задачу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1600" dirty="0" smtClean="0">
                <a:latin typeface="+mn-lt"/>
                <a:cs typeface="+mn-cs"/>
              </a:rPr>
              <a:t>     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аёт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им полный по операционный состав этой задачи.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1600" dirty="0" smtClean="0">
                <a:latin typeface="+mn-lt"/>
                <a:cs typeface="+mn-cs"/>
              </a:rPr>
              <a:t>    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казывает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образцы выполнения каждой   отдельной операции и порядок  их следования   друг за другом.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ru-RU" sz="1600" dirty="0" smtClean="0">
                <a:latin typeface="+mn-lt"/>
                <a:cs typeface="+mn-cs"/>
              </a:rPr>
              <a:t>     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.Контролирует и оценивает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выполнение каждой операции и учебной задачи в целом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b="1" dirty="0" smtClean="0"/>
              <a:t>Особенности формирования лингвистических представлений</a:t>
            </a:r>
            <a:br>
              <a:rPr lang="ru-RU" b="1" dirty="0" smtClean="0"/>
            </a:br>
            <a:r>
              <a:rPr lang="ru-RU" b="1" dirty="0" smtClean="0"/>
              <a:t>в процессе работы по «Букварю»</a:t>
            </a:r>
            <a:endParaRPr lang="ru-RU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8649" t="11511" r="25305" b="13326"/>
          <a:stretch>
            <a:fillRect/>
          </a:stretch>
        </p:blipFill>
        <p:spPr bwMode="auto">
          <a:xfrm>
            <a:off x="2839079" y="1600200"/>
            <a:ext cx="3465842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Прямоугольник 4"/>
          <p:cNvSpPr/>
          <p:nvPr/>
        </p:nvSpPr>
        <p:spPr>
          <a:xfrm>
            <a:off x="6470676" y="2114532"/>
            <a:ext cx="222729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/>
              <a:t>Каждое названное детьми предложение должно быть </a:t>
            </a:r>
            <a:r>
              <a:rPr lang="ru-RU" sz="2000" b="1" dirty="0" smtClean="0">
                <a:solidFill>
                  <a:srgbClr val="FF0000"/>
                </a:solidFill>
              </a:rPr>
              <a:t>зафиксировано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20700" y="1384272"/>
            <a:ext cx="71565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Как можно больше привлекайте своих учеников к  объяснениям, </a:t>
            </a:r>
          </a:p>
          <a:p>
            <a:pPr algn="ctr"/>
            <a:r>
              <a:rPr lang="ru-RU" dirty="0" smtClean="0"/>
              <a:t>пусть они сами называют слова </a:t>
            </a:r>
          </a:p>
          <a:p>
            <a:pPr algn="ctr"/>
            <a:r>
              <a:rPr lang="ru-RU" dirty="0" smtClean="0"/>
              <a:t>и показывают </a:t>
            </a:r>
            <a:r>
              <a:rPr lang="ru-RU" dirty="0" smtClean="0">
                <a:solidFill>
                  <a:srgbClr val="FF0000"/>
                </a:solidFill>
              </a:rPr>
              <a:t>разницу </a:t>
            </a:r>
            <a:r>
              <a:rPr lang="ru-RU" dirty="0" smtClean="0"/>
              <a:t>между словом и предметом.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99979" y="4889520"/>
            <a:ext cx="81423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Помните, что на этих уроках дети впервые начинают относиться к словам,</a:t>
            </a:r>
          </a:p>
          <a:p>
            <a:pPr algn="ctr"/>
            <a:r>
              <a:rPr lang="ru-RU" dirty="0" smtClean="0"/>
              <a:t>которые они произносят, не как к средству общения, </a:t>
            </a:r>
          </a:p>
          <a:p>
            <a:pPr algn="ctr"/>
            <a:r>
              <a:rPr lang="ru-RU" dirty="0" smtClean="0"/>
              <a:t>а как к </a:t>
            </a:r>
            <a:r>
              <a:rPr lang="ru-RU" dirty="0" smtClean="0">
                <a:solidFill>
                  <a:srgbClr val="FF0000"/>
                </a:solidFill>
              </a:rPr>
              <a:t>материалу для анализа.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 l="19661" t="24349" r="43700" b="62414"/>
          <a:stretch>
            <a:fillRect/>
          </a:stretch>
        </p:blipFill>
        <p:spPr bwMode="auto">
          <a:xfrm>
            <a:off x="1322343" y="2516175"/>
            <a:ext cx="5842080" cy="19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336491" y="252369"/>
            <a:ext cx="84345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Особенности формирования лингвистических представлений</a:t>
            </a:r>
            <a:br>
              <a:rPr lang="ru-RU" b="1" dirty="0" smtClean="0">
                <a:solidFill>
                  <a:schemeClr val="bg1"/>
                </a:solidFill>
              </a:rPr>
            </a:br>
            <a:r>
              <a:rPr lang="ru-RU" b="1" dirty="0" smtClean="0">
                <a:solidFill>
                  <a:schemeClr val="bg1"/>
                </a:solidFill>
              </a:rPr>
              <a:t>в процессе работы по «Букварю»</a:t>
            </a:r>
            <a:endParaRPr lang="ru-RU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886468" y="1749402"/>
            <a:ext cx="3103606" cy="3176631"/>
          </a:xfrm>
        </p:spPr>
        <p:txBody>
          <a:bodyPr/>
          <a:lstStyle/>
          <a:p>
            <a:r>
              <a:rPr lang="ru-RU" sz="2000" dirty="0" smtClean="0">
                <a:solidFill>
                  <a:schemeClr val="tx1"/>
                </a:solidFill>
              </a:rPr>
              <a:t>Когда Ваши ученики уже узнают о том, что предложение состоит из слов, очень полезно провести с ними игру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rgbClr val="FF0000"/>
                </a:solidFill>
              </a:rPr>
              <a:t>«Живые модели».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34ED55-CDAE-4F7C-A52F-EA43DFCA4EE6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pic>
        <p:nvPicPr>
          <p:cNvPr id="307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2567" t="12978" r="39674" b="6348"/>
          <a:stretch>
            <a:fillRect/>
          </a:stretch>
        </p:blipFill>
        <p:spPr bwMode="auto">
          <a:xfrm>
            <a:off x="1714480" y="1500174"/>
            <a:ext cx="3571900" cy="452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Прямоугольник 8"/>
          <p:cNvSpPr/>
          <p:nvPr/>
        </p:nvSpPr>
        <p:spPr>
          <a:xfrm>
            <a:off x="263466" y="252369"/>
            <a:ext cx="82519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Особенности формирования лингвистических представлений</a:t>
            </a:r>
            <a:br>
              <a:rPr lang="ru-RU" b="1" dirty="0" smtClean="0">
                <a:solidFill>
                  <a:schemeClr val="bg1"/>
                </a:solidFill>
              </a:rPr>
            </a:br>
            <a:r>
              <a:rPr lang="ru-RU" b="1" dirty="0" smtClean="0">
                <a:solidFill>
                  <a:schemeClr val="bg1"/>
                </a:solidFill>
              </a:rPr>
              <a:t>в процессе работы по «Букварю»</a:t>
            </a:r>
            <a:endParaRPr lang="ru-RU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683432"/>
          </a:xfrm>
        </p:spPr>
        <p:txBody>
          <a:bodyPr/>
          <a:lstStyle/>
          <a:p>
            <a:pPr algn="ctr"/>
            <a:r>
              <a:rPr lang="ru-RU" b="1" dirty="0" smtClean="0"/>
              <a:t>Проводим звуковой анализ слов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357298"/>
            <a:ext cx="2563785" cy="1862163"/>
          </a:xfrm>
        </p:spPr>
        <p:txBody>
          <a:bodyPr/>
          <a:lstStyle/>
          <a:p>
            <a:pPr>
              <a:buNone/>
            </a:pPr>
            <a:r>
              <a:rPr lang="ru-RU" sz="2000" dirty="0" smtClean="0"/>
              <a:t>       Первая операция- </a:t>
            </a:r>
            <a:r>
              <a:rPr lang="ru-RU" sz="2000" dirty="0" smtClean="0">
                <a:solidFill>
                  <a:srgbClr val="FF0000"/>
                </a:solidFill>
              </a:rPr>
              <a:t>«чтение» </a:t>
            </a:r>
            <a:r>
              <a:rPr lang="ru-RU" sz="2000" dirty="0" smtClean="0"/>
              <a:t>слова по схеме звукового состава с указкой.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 l="11922" t="8944" r="38383" b="11188"/>
          <a:stretch>
            <a:fillRect/>
          </a:stretch>
        </p:blipFill>
        <p:spPr bwMode="auto">
          <a:xfrm>
            <a:off x="2643174" y="1571612"/>
            <a:ext cx="3745647" cy="4815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0" y="2643182"/>
            <a:ext cx="25272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     Вторая операция -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</a:rPr>
              <a:t> интонационное </a:t>
            </a:r>
          </a:p>
          <a:p>
            <a:pPr algn="ctr"/>
            <a:r>
              <a:rPr lang="ru-RU" dirty="0" smtClean="0"/>
              <a:t>выделение </a:t>
            </a:r>
          </a:p>
          <a:p>
            <a:pPr algn="ctr"/>
            <a:r>
              <a:rPr lang="ru-RU" dirty="0" smtClean="0"/>
              <a:t>звука в слове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251598" y="5437215"/>
            <a:ext cx="27749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dirty="0" smtClean="0"/>
          </a:p>
          <a:p>
            <a:pPr algn="ctr"/>
            <a:r>
              <a:rPr lang="ru-RU" dirty="0" smtClean="0"/>
              <a:t>Наилучший способ -</a:t>
            </a:r>
          </a:p>
          <a:p>
            <a:pPr algn="ctr"/>
            <a:r>
              <a:rPr lang="ru-RU" dirty="0" smtClean="0"/>
              <a:t>игра </a:t>
            </a:r>
            <a:r>
              <a:rPr lang="ru-RU" dirty="0" smtClean="0">
                <a:solidFill>
                  <a:srgbClr val="FF0000"/>
                </a:solidFill>
              </a:rPr>
              <a:t>«Живые модели»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 l="13858" t="13785" r="39029" b="8768"/>
          <a:stretch>
            <a:fillRect/>
          </a:stretch>
        </p:blipFill>
        <p:spPr bwMode="auto">
          <a:xfrm>
            <a:off x="2786050" y="1500174"/>
            <a:ext cx="3508424" cy="4865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Содержимое 5"/>
          <p:cNvSpPr txBox="1">
            <a:spLocks/>
          </p:cNvSpPr>
          <p:nvPr/>
        </p:nvSpPr>
        <p:spPr bwMode="auto">
          <a:xfrm>
            <a:off x="0" y="3867156"/>
            <a:ext cx="2475008" cy="1935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етья операция -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золированное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зывание звука,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который был интонационно выделен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Содержимое 5"/>
          <p:cNvSpPr txBox="1">
            <a:spLocks/>
          </p:cNvSpPr>
          <p:nvPr/>
        </p:nvSpPr>
        <p:spPr bwMode="auto">
          <a:xfrm>
            <a:off x="6251598" y="1428736"/>
            <a:ext cx="2892402" cy="4311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 последняя операция на начальном этапе проведения звукового анализа слов —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иксация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ыделенного и названного 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изолированного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звука (жёлтой) фишкой.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/>
          <a:srcRect l="15794" t="12171" r="42255" b="9575"/>
          <a:stretch>
            <a:fillRect/>
          </a:stretch>
        </p:blipFill>
        <p:spPr bwMode="auto">
          <a:xfrm>
            <a:off x="2786050" y="1500174"/>
            <a:ext cx="3324261" cy="4752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hlinkClick r:id="rId2" action="ppaction://hlinkfile"/>
              </a:rPr>
              <a:t>VTS_01_3.VOB</a:t>
            </a:r>
            <a:endParaRPr lang="ru-RU" dirty="0" smtClean="0"/>
          </a:p>
          <a:p>
            <a:r>
              <a:rPr lang="en-US" dirty="0" smtClean="0">
                <a:hlinkClick r:id="rId3" action="ppaction://hlinkfile"/>
              </a:rPr>
              <a:t>VTS_01_1.VOB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Проводим звуковой анализ сл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  <p:pic>
        <p:nvPicPr>
          <p:cNvPr id="5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5362" t="18625" r="5468" b="8768"/>
          <a:stretch>
            <a:fillRect/>
          </a:stretch>
        </p:blipFill>
        <p:spPr bwMode="auto">
          <a:xfrm>
            <a:off x="555570" y="1165194"/>
            <a:ext cx="7615823" cy="4960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/>
          <a:srcRect l="25826" t="16865" r="26388" b="5835"/>
          <a:stretch>
            <a:fillRect/>
          </a:stretch>
        </p:blipFill>
        <p:spPr bwMode="auto">
          <a:xfrm>
            <a:off x="7951111" y="215856"/>
            <a:ext cx="987511" cy="1277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Проводим звуковой анализ сл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pic>
        <p:nvPicPr>
          <p:cNvPr id="1126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3212" t="10557" r="37092" b="9575"/>
          <a:stretch>
            <a:fillRect/>
          </a:stretch>
        </p:blipFill>
        <p:spPr bwMode="auto">
          <a:xfrm>
            <a:off x="2454246" y="946117"/>
            <a:ext cx="4089456" cy="5257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Прямоугольник 5"/>
          <p:cNvSpPr/>
          <p:nvPr/>
        </p:nvSpPr>
        <p:spPr>
          <a:xfrm>
            <a:off x="0" y="3105835"/>
            <a:ext cx="289240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 smtClean="0"/>
              <a:t>Определение </a:t>
            </a:r>
          </a:p>
          <a:p>
            <a:pPr algn="ctr"/>
            <a:r>
              <a:rPr lang="ru-RU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твёрдости-</a:t>
            </a:r>
            <a:r>
              <a:rPr lang="ru-RU" sz="2400" dirty="0" smtClean="0">
                <a:solidFill>
                  <a:schemeClr val="accent3">
                    <a:lumMod val="75000"/>
                  </a:schemeClr>
                </a:solidFill>
              </a:rPr>
              <a:t>мягкости</a:t>
            </a:r>
            <a:r>
              <a:rPr lang="ru-RU" sz="2400" dirty="0" smtClean="0"/>
              <a:t> согласного</a:t>
            </a: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Учим буквы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  <p:sp>
        <p:nvSpPr>
          <p:cNvPr id="8" name="Содержимое 7"/>
          <p:cNvSpPr>
            <a:spLocks noGrp="1"/>
          </p:cNvSpPr>
          <p:nvPr>
            <p:ph idx="1"/>
          </p:nvPr>
        </p:nvSpPr>
        <p:spPr>
          <a:xfrm>
            <a:off x="-284228" y="982629"/>
            <a:ext cx="2994066" cy="5586489"/>
          </a:xfrm>
        </p:spPr>
        <p:txBody>
          <a:bodyPr/>
          <a:lstStyle/>
          <a:p>
            <a:pPr>
              <a:buNone/>
            </a:pPr>
            <a:r>
              <a:rPr lang="ru-RU" sz="1800" dirty="0" smtClean="0"/>
              <a:t>       Мы знакомим детей </a:t>
            </a:r>
          </a:p>
          <a:p>
            <a:pPr>
              <a:buNone/>
            </a:pPr>
            <a:r>
              <a:rPr lang="ru-RU" sz="1800" dirty="0" smtClean="0"/>
              <a:t>       со всеми буквами, обозначающими</a:t>
            </a:r>
          </a:p>
          <a:p>
            <a:pPr>
              <a:buNone/>
            </a:pPr>
            <a:r>
              <a:rPr lang="ru-RU" sz="1800" dirty="0" smtClean="0"/>
              <a:t>       </a:t>
            </a:r>
            <a:r>
              <a:rPr lang="ru-RU" sz="1800" dirty="0" smtClean="0">
                <a:solidFill>
                  <a:srgbClr val="FF0000"/>
                </a:solidFill>
              </a:rPr>
              <a:t>гласные звуки</a:t>
            </a:r>
            <a:r>
              <a:rPr lang="ru-RU" sz="1800" dirty="0" smtClean="0"/>
              <a:t>, </a:t>
            </a:r>
          </a:p>
          <a:p>
            <a:pPr marL="342900" lvl="8" indent="-342900" fontAlgn="base">
              <a:spcAft>
                <a:spcPct val="0"/>
              </a:spcAft>
              <a:buNone/>
            </a:pPr>
            <a:r>
              <a:rPr lang="ru-RU" sz="1800" dirty="0" smtClean="0"/>
              <a:t>       до введения букв, обозначающих согласные звуки, при чём они вводятся парами </a:t>
            </a:r>
          </a:p>
          <a:p>
            <a:pPr marL="342900" lvl="8" indent="-342900" fontAlgn="base">
              <a:spcAft>
                <a:spcPct val="0"/>
              </a:spcAft>
              <a:buNone/>
            </a:pPr>
            <a:r>
              <a:rPr lang="ru-RU" sz="1800" dirty="0" smtClean="0"/>
              <a:t>      (</a:t>
            </a:r>
            <a:r>
              <a:rPr lang="ru-RU" sz="1800" b="1" i="1" dirty="0" smtClean="0"/>
              <a:t>а – я, о – ё и т. д</a:t>
            </a:r>
            <a:r>
              <a:rPr lang="ru-RU" sz="1800" i="1" dirty="0" smtClean="0"/>
              <a:t>.). </a:t>
            </a:r>
          </a:p>
          <a:p>
            <a:pPr marL="342900" lvl="8" indent="-342900" fontAlgn="base">
              <a:spcAft>
                <a:spcPct val="0"/>
              </a:spcAft>
              <a:buNone/>
            </a:pPr>
            <a:r>
              <a:rPr lang="ru-RU" sz="1800" i="1" dirty="0" smtClean="0"/>
              <a:t>      При </a:t>
            </a:r>
            <a:r>
              <a:rPr lang="ru-RU" sz="1800" dirty="0" smtClean="0"/>
              <a:t>этом  закрепляются те знания о</a:t>
            </a:r>
          </a:p>
          <a:p>
            <a:pPr marL="342900" lvl="8" indent="-342900" fontAlgn="base">
              <a:spcAft>
                <a:spcPct val="0"/>
              </a:spcAft>
              <a:buNone/>
            </a:pPr>
            <a:r>
              <a:rPr lang="ru-RU" sz="1800" dirty="0" smtClean="0"/>
              <a:t>     </a:t>
            </a:r>
            <a:r>
              <a:rPr lang="ru-RU" sz="1800" dirty="0" smtClean="0">
                <a:solidFill>
                  <a:srgbClr val="FF0000"/>
                </a:solidFill>
              </a:rPr>
              <a:t>твёрдых и мягких</a:t>
            </a:r>
          </a:p>
          <a:p>
            <a:pPr marL="342900" lvl="8" indent="-342900" fontAlgn="base">
              <a:spcAft>
                <a:spcPct val="0"/>
              </a:spcAft>
              <a:buNone/>
            </a:pPr>
            <a:r>
              <a:rPr lang="ru-RU" sz="1800" dirty="0" smtClean="0">
                <a:solidFill>
                  <a:srgbClr val="FF0000"/>
                </a:solidFill>
              </a:rPr>
              <a:t>     </a:t>
            </a:r>
            <a:r>
              <a:rPr lang="ru-RU" sz="1800" dirty="0" smtClean="0"/>
              <a:t>согласных, которые дети получили на предыдущем этапе обучения.</a:t>
            </a:r>
          </a:p>
          <a:p>
            <a:pPr>
              <a:buNone/>
            </a:pPr>
            <a:endParaRPr lang="ru-RU" sz="1800" i="1" dirty="0" smtClean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/>
          <a:srcRect l="15149" t="9751" r="38383" b="10382"/>
          <a:stretch>
            <a:fillRect/>
          </a:stretch>
        </p:blipFill>
        <p:spPr bwMode="auto">
          <a:xfrm>
            <a:off x="2587021" y="909603"/>
            <a:ext cx="3345917" cy="460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 l="13858" t="12171" r="39674" b="6348"/>
          <a:stretch>
            <a:fillRect/>
          </a:stretch>
        </p:blipFill>
        <p:spPr bwMode="auto">
          <a:xfrm>
            <a:off x="5890367" y="909602"/>
            <a:ext cx="3253633" cy="456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extBox 12"/>
          <p:cNvSpPr txBox="1"/>
          <p:nvPr/>
        </p:nvSpPr>
        <p:spPr>
          <a:xfrm>
            <a:off x="8369352" y="2625714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074967" y="5546754"/>
            <a:ext cx="50831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Принцип обозначения</a:t>
            </a:r>
            <a:r>
              <a:rPr lang="ru-RU" dirty="0" smtClean="0"/>
              <a:t> гласными буквами </a:t>
            </a:r>
            <a:br>
              <a:rPr lang="ru-RU" dirty="0" smtClean="0"/>
            </a:br>
            <a:r>
              <a:rPr lang="ru-RU" dirty="0" smtClean="0"/>
              <a:t>твёрдости и мягкости согласных звуков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7938" y="1"/>
            <a:ext cx="9151938" cy="17562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467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5426" y="250152"/>
            <a:ext cx="8235041" cy="1325563"/>
          </a:xfrm>
        </p:spPr>
        <p:txBody>
          <a:bodyPr anchor="b">
            <a:noAutofit/>
          </a:bodyPr>
          <a:lstStyle/>
          <a:p>
            <a:r>
              <a:rPr lang="ru-RU" sz="2400" cap="all" dirty="0" smtClean="0">
                <a:solidFill>
                  <a:schemeClr val="bg1"/>
                </a:solidFill>
                <a:latin typeface="+mn-lt"/>
              </a:rPr>
              <a:t>Издательствами, входящими в корпорацию</a:t>
            </a:r>
            <a:br>
              <a:rPr lang="ru-RU" sz="2400" cap="all" dirty="0" smtClean="0">
                <a:solidFill>
                  <a:schemeClr val="bg1"/>
                </a:solidFill>
                <a:latin typeface="+mn-lt"/>
              </a:rPr>
            </a:br>
            <a:r>
              <a:rPr lang="ru-RU" sz="2400" cap="all" dirty="0" smtClean="0">
                <a:solidFill>
                  <a:schemeClr val="bg1"/>
                </a:solidFill>
                <a:latin typeface="+mn-lt"/>
              </a:rPr>
              <a:t>«Российский учебник», выпускается 42%</a:t>
            </a:r>
            <a:br>
              <a:rPr lang="ru-RU" sz="2400" cap="all" dirty="0" smtClean="0">
                <a:solidFill>
                  <a:schemeClr val="bg1"/>
                </a:solidFill>
                <a:latin typeface="+mn-lt"/>
              </a:rPr>
            </a:br>
            <a:r>
              <a:rPr lang="ru-RU" sz="2400" cap="all" dirty="0" smtClean="0">
                <a:solidFill>
                  <a:schemeClr val="bg1"/>
                </a:solidFill>
                <a:latin typeface="+mn-lt"/>
              </a:rPr>
              <a:t>наименований учебников из Федерального перечня</a:t>
            </a:r>
          </a:p>
        </p:txBody>
      </p:sp>
      <p:pic>
        <p:nvPicPr>
          <p:cNvPr id="6" name="Picture 3" descr="D:\Masha\черная пятница\!Фирменные стили и логотипы\!Российский учебник\презентация\для-перезентации-РУ-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35230" y="280975"/>
            <a:ext cx="1857054" cy="703617"/>
          </a:xfrm>
          <a:prstGeom prst="rect">
            <a:avLst/>
          </a:prstGeom>
          <a:noFill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29256" y="1928802"/>
            <a:ext cx="3557588" cy="4565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Объект 2"/>
          <p:cNvSpPr>
            <a:spLocks noGrp="1"/>
          </p:cNvSpPr>
          <p:nvPr>
            <p:ph idx="1"/>
          </p:nvPr>
        </p:nvSpPr>
        <p:spPr>
          <a:xfrm>
            <a:off x="214282" y="1714488"/>
            <a:ext cx="5214974" cy="418148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dirty="0" smtClean="0"/>
              <a:t>Федеральный перечень учебников (ФП) – </a:t>
            </a:r>
          </a:p>
          <a:p>
            <a:pPr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/>
              <a:t>	перечень учебников, рекомендуемый к использованию</a:t>
            </a:r>
          </a:p>
          <a:p>
            <a:pPr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/>
              <a:t>	при реализации имеющих государственную аккредитацию образовательных программ начального общего, основного общего, среднего общего образования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dirty="0" smtClean="0"/>
              <a:t>Корпорация «Российский учебник» является лидером</a:t>
            </a:r>
          </a:p>
          <a:p>
            <a:pPr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 smtClean="0"/>
              <a:t>	по числу позиций в ФП (</a:t>
            </a:r>
            <a:r>
              <a:rPr lang="ru-RU" sz="1600" b="1" dirty="0" smtClean="0"/>
              <a:t>485</a:t>
            </a:r>
            <a:r>
              <a:rPr lang="ru-RU" sz="1600" dirty="0" smtClean="0"/>
              <a:t> позиций в 2017 г., или </a:t>
            </a:r>
            <a:r>
              <a:rPr lang="ru-RU" sz="1600" b="1" dirty="0" smtClean="0"/>
              <a:t>42%</a:t>
            </a:r>
            <a:r>
              <a:rPr lang="ru-RU" sz="1600" dirty="0" smtClean="0"/>
              <a:t> наименований Федерального перечня, без учета учебников для коррекционной школы). На 2-м месте по числу наименований идет издательство «Просвещение» (</a:t>
            </a:r>
            <a:r>
              <a:rPr lang="ru-RU" sz="1600" b="1" dirty="0" smtClean="0"/>
              <a:t>29%</a:t>
            </a:r>
            <a:r>
              <a:rPr lang="ru-RU" sz="1600" dirty="0" smtClean="0"/>
              <a:t>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dirty="0" smtClean="0"/>
              <a:t>За последние два года из ФП выбыли два издательства — «Ассоциация XXI век» и «Мнемозина» (в общей сложности 89 наименований учебников). Появилось четыре новых издательства (в сумме 25 позиций ФП)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680699" y="6438900"/>
            <a:ext cx="4334214" cy="2442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600" lvl="0" indent="-228600"/>
            <a:r>
              <a:rPr lang="ru-RU" sz="12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* без учета учебников для детей с ограниченными возможностями</a:t>
            </a:r>
          </a:p>
        </p:txBody>
      </p:sp>
    </p:spTree>
    <p:extLst>
      <p:ext uri="{BB962C8B-B14F-4D97-AF65-F5344CB8AC3E}">
        <p14:creationId xmlns:p14="http://schemas.microsoft.com/office/powerpoint/2010/main" xmlns="" val="952385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 smtClean="0">
                <a:solidFill>
                  <a:schemeClr val="tx1"/>
                </a:solidFill>
              </a:rPr>
              <a:t>Первое знакомство со звуком Й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  <p:pic>
        <p:nvPicPr>
          <p:cNvPr id="819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6327" t="11513" r="39498" b="13296"/>
          <a:stretch>
            <a:fillRect/>
          </a:stretch>
        </p:blipFill>
        <p:spPr bwMode="auto">
          <a:xfrm>
            <a:off x="2600298" y="1019142"/>
            <a:ext cx="3758557" cy="5118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153927" y="1785916"/>
            <a:ext cx="255591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ежде всего проводится звуковой анализ слова, в котором</a:t>
            </a:r>
          </a:p>
          <a:p>
            <a:r>
              <a:rPr lang="ru-RU" dirty="0" smtClean="0"/>
              <a:t>есть звук [</a:t>
            </a:r>
            <a:r>
              <a:rPr lang="ru-RU" dirty="0" err="1" smtClean="0"/>
              <a:t>й</a:t>
            </a:r>
            <a:r>
              <a:rPr lang="ru-RU" dirty="0" smtClean="0"/>
              <a:t>’], </a:t>
            </a:r>
          </a:p>
          <a:p>
            <a:r>
              <a:rPr lang="ru-RU" dirty="0" smtClean="0"/>
              <a:t>в учебнике — это </a:t>
            </a:r>
          </a:p>
          <a:p>
            <a:r>
              <a:rPr lang="ru-RU" dirty="0" smtClean="0"/>
              <a:t>слово </a:t>
            </a:r>
            <a:r>
              <a:rPr lang="ru-RU" b="1" i="1" dirty="0" smtClean="0">
                <a:solidFill>
                  <a:srgbClr val="FF0000"/>
                </a:solidFill>
              </a:rPr>
              <a:t>рой </a:t>
            </a:r>
            <a:r>
              <a:rPr lang="ru-RU" i="1" dirty="0" smtClean="0"/>
              <a:t>(пчёл). </a:t>
            </a:r>
          </a:p>
          <a:p>
            <a:r>
              <a:rPr lang="ru-RU" i="1" dirty="0" smtClean="0"/>
              <a:t>Дети впервые</a:t>
            </a:r>
          </a:p>
          <a:p>
            <a:r>
              <a:rPr lang="ru-RU" dirty="0" smtClean="0"/>
              <a:t>выделяют звук [</a:t>
            </a:r>
            <a:r>
              <a:rPr lang="ru-RU" dirty="0" err="1" smtClean="0"/>
              <a:t>й</a:t>
            </a:r>
            <a:r>
              <a:rPr lang="ru-RU" dirty="0" smtClean="0"/>
              <a:t>’], </a:t>
            </a:r>
          </a:p>
          <a:p>
            <a:r>
              <a:rPr lang="ru-RU" dirty="0" smtClean="0"/>
              <a:t>узнают о том, что он мягкий согласный,</a:t>
            </a:r>
          </a:p>
          <a:p>
            <a:r>
              <a:rPr lang="ru-RU" dirty="0" smtClean="0"/>
              <a:t>очень краткий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507190" y="1822428"/>
            <a:ext cx="263681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игра 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</a:rPr>
              <a:t>«Назови слово с нужным звуком»</a:t>
            </a:r>
          </a:p>
          <a:p>
            <a:pPr algn="ctr"/>
            <a:r>
              <a:rPr lang="ru-RU" dirty="0" smtClean="0"/>
              <a:t>(май, лай,</a:t>
            </a:r>
          </a:p>
          <a:p>
            <a:pPr algn="ctr"/>
            <a:r>
              <a:rPr lang="ru-RU" dirty="0" smtClean="0"/>
              <a:t> майка, лейка, </a:t>
            </a:r>
          </a:p>
          <a:p>
            <a:pPr algn="ctr"/>
            <a:r>
              <a:rPr lang="ru-RU" dirty="0" smtClean="0"/>
              <a:t>ёжик, юбка, ёлка </a:t>
            </a:r>
          </a:p>
          <a:p>
            <a:pPr algn="ctr"/>
            <a:r>
              <a:rPr lang="ru-RU" dirty="0" smtClean="0"/>
              <a:t>и т.д.)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Учим букв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754565" y="1493811"/>
            <a:ext cx="419899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и знакомстве с гласными</a:t>
            </a:r>
          </a:p>
          <a:p>
            <a:r>
              <a:rPr lang="ru-RU" dirty="0" smtClean="0"/>
              <a:t>буквами дети начинают строить уже не звуковую, а </a:t>
            </a:r>
            <a:r>
              <a:rPr lang="ru-RU" dirty="0" err="1" smtClean="0">
                <a:solidFill>
                  <a:srgbClr val="FF0000"/>
                </a:solidFill>
              </a:rPr>
              <a:t>звуко-буквенную</a:t>
            </a:r>
            <a:r>
              <a:rPr lang="ru-RU" dirty="0" smtClean="0">
                <a:solidFill>
                  <a:srgbClr val="FF0000"/>
                </a:solidFill>
              </a:rPr>
              <a:t> </a:t>
            </a:r>
            <a:r>
              <a:rPr lang="ru-RU" dirty="0" smtClean="0"/>
              <a:t>модель слова. Но при разборе любого слова просите учеников </a:t>
            </a:r>
            <a:r>
              <a:rPr lang="ru-RU" dirty="0" smtClean="0">
                <a:solidFill>
                  <a:srgbClr val="FF0000"/>
                </a:solidFill>
              </a:rPr>
              <a:t>сначала </a:t>
            </a:r>
            <a:r>
              <a:rPr lang="ru-RU" dirty="0" smtClean="0"/>
              <a:t>строить </a:t>
            </a:r>
            <a:r>
              <a:rPr lang="ru-RU" dirty="0" smtClean="0">
                <a:solidFill>
                  <a:srgbClr val="FF0000"/>
                </a:solidFill>
              </a:rPr>
              <a:t>звуковую модель</a:t>
            </a:r>
            <a:r>
              <a:rPr lang="ru-RU" dirty="0" smtClean="0"/>
              <a:t>, а лишь за тем заменять фишки</a:t>
            </a:r>
          </a:p>
          <a:p>
            <a:r>
              <a:rPr lang="ru-RU" dirty="0" smtClean="0"/>
              <a:t>известными буквами.</a:t>
            </a:r>
            <a:endParaRPr lang="ru-RU" dirty="0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5429" t="9286" r="39429" b="12857"/>
          <a:stretch>
            <a:fillRect/>
          </a:stretch>
        </p:blipFill>
        <p:spPr bwMode="auto">
          <a:xfrm>
            <a:off x="263466" y="927166"/>
            <a:ext cx="3833865" cy="528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4170357" y="4378338"/>
            <a:ext cx="478320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Игра </a:t>
            </a:r>
          </a:p>
          <a:p>
            <a:pPr algn="ctr"/>
            <a:r>
              <a:rPr lang="ru-RU" dirty="0" smtClean="0">
                <a:solidFill>
                  <a:srgbClr val="FF0000"/>
                </a:solidFill>
              </a:rPr>
              <a:t>« Живые модели»</a:t>
            </a:r>
          </a:p>
          <a:p>
            <a:pPr algn="ctr"/>
            <a:r>
              <a:rPr lang="ru-RU" dirty="0" smtClean="0"/>
              <a:t>Пусть дети играют </a:t>
            </a:r>
          </a:p>
          <a:p>
            <a:pPr algn="ctr"/>
            <a:r>
              <a:rPr lang="ru-RU" b="1" dirty="0" smtClean="0"/>
              <a:t>со звуковой моделью</a:t>
            </a:r>
          </a:p>
          <a:p>
            <a:pPr algn="ctr"/>
            <a:r>
              <a:rPr lang="ru-RU" b="1" dirty="0" smtClean="0"/>
              <a:t> записанного буквами слова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9979" y="116632"/>
            <a:ext cx="8386821" cy="1143000"/>
          </a:xfrm>
        </p:spPr>
        <p:txBody>
          <a:bodyPr>
            <a:normAutofit fontScale="90000"/>
          </a:bodyPr>
          <a:lstStyle/>
          <a:p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800" b="1" dirty="0" smtClean="0">
                <a:solidFill>
                  <a:schemeClr val="tx1"/>
                </a:solidFill>
              </a:rPr>
              <a:t>Приучайте их давать очень чёткие формулировки</a:t>
            </a:r>
            <a:r>
              <a:rPr lang="ru-RU" sz="1800" dirty="0" smtClean="0">
                <a:solidFill>
                  <a:schemeClr val="tx1"/>
                </a:solidFill>
              </a:rPr>
              <a:t>:</a:t>
            </a:r>
            <a:br>
              <a:rPr lang="ru-RU" sz="1800" dirty="0" smtClean="0">
                <a:solidFill>
                  <a:schemeClr val="tx1"/>
                </a:solidFill>
              </a:rPr>
            </a:br>
            <a:r>
              <a:rPr lang="ru-RU" sz="1800" dirty="0" smtClean="0">
                <a:solidFill>
                  <a:schemeClr val="tx1"/>
                </a:solidFill>
              </a:rPr>
              <a:t> если в слове после мягкого согласного звука слышится звук </a:t>
            </a:r>
            <a:r>
              <a:rPr lang="ru-RU" sz="1800" dirty="0" smtClean="0">
                <a:solidFill>
                  <a:srgbClr val="FF0000"/>
                </a:solidFill>
              </a:rPr>
              <a:t>[а] ([о], [у], [э]), </a:t>
            </a:r>
            <a:r>
              <a:rPr lang="ru-RU" sz="1800" dirty="0" smtClean="0">
                <a:solidFill>
                  <a:schemeClr val="tx1"/>
                </a:solidFill>
              </a:rPr>
              <a:t/>
            </a:r>
            <a:br>
              <a:rPr lang="ru-RU" sz="1800" dirty="0" smtClean="0">
                <a:solidFill>
                  <a:schemeClr val="tx1"/>
                </a:solidFill>
              </a:rPr>
            </a:br>
            <a:r>
              <a:rPr lang="ru-RU" sz="1800" dirty="0" smtClean="0">
                <a:solidFill>
                  <a:schemeClr val="tx1"/>
                </a:solidFill>
              </a:rPr>
              <a:t>он никогда не обозначается буквой </a:t>
            </a:r>
            <a:r>
              <a:rPr lang="ru-RU" sz="1800" i="1" dirty="0" smtClean="0">
                <a:solidFill>
                  <a:srgbClr val="FF0000"/>
                </a:solidFill>
              </a:rPr>
              <a:t>а (о, у, е</a:t>
            </a:r>
            <a:r>
              <a:rPr lang="ru-RU" sz="1800" i="1" dirty="0" smtClean="0">
                <a:solidFill>
                  <a:schemeClr val="tx1"/>
                </a:solidFill>
              </a:rPr>
              <a:t>), а обозначается буквой </a:t>
            </a:r>
            <a:r>
              <a:rPr lang="ru-RU" sz="1800" i="1" dirty="0" smtClean="0">
                <a:solidFill>
                  <a:srgbClr val="FF0000"/>
                </a:solidFill>
              </a:rPr>
              <a:t>я (</a:t>
            </a:r>
            <a:r>
              <a:rPr lang="ru-RU" sz="1800" i="1" dirty="0" err="1" smtClean="0">
                <a:solidFill>
                  <a:srgbClr val="FF0000"/>
                </a:solidFill>
              </a:rPr>
              <a:t>ё,ю</a:t>
            </a:r>
            <a:r>
              <a:rPr lang="ru-RU" sz="1800" i="1" dirty="0" smtClean="0">
                <a:solidFill>
                  <a:srgbClr val="FF0000"/>
                </a:solidFill>
              </a:rPr>
              <a:t>, е)</a:t>
            </a:r>
            <a:r>
              <a:rPr lang="ru-RU" sz="1800" i="1" dirty="0" smtClean="0">
                <a:solidFill>
                  <a:schemeClr val="tx1"/>
                </a:solidFill>
              </a:rPr>
              <a:t>.</a:t>
            </a:r>
            <a:r>
              <a:rPr lang="ru-RU" sz="1800" i="1" dirty="0" smtClean="0">
                <a:solidFill>
                  <a:srgbClr val="FF0000"/>
                </a:solidFill>
              </a:rPr>
              <a:t> </a:t>
            </a:r>
            <a:br>
              <a:rPr lang="ru-RU" sz="1800" i="1" dirty="0" smtClean="0">
                <a:solidFill>
                  <a:srgbClr val="FF0000"/>
                </a:solidFill>
              </a:rPr>
            </a:br>
            <a:r>
              <a:rPr lang="ru-RU" sz="1800" i="1" dirty="0" smtClean="0">
                <a:solidFill>
                  <a:schemeClr val="tx1"/>
                </a:solidFill>
              </a:rPr>
              <a:t>Буква </a:t>
            </a:r>
            <a:r>
              <a:rPr lang="ru-RU" sz="1800" i="1" dirty="0" smtClean="0">
                <a:solidFill>
                  <a:srgbClr val="FF0000"/>
                </a:solidFill>
              </a:rPr>
              <a:t>я (ё, </a:t>
            </a:r>
            <a:r>
              <a:rPr lang="ru-RU" sz="1800" i="1" dirty="0" err="1" smtClean="0">
                <a:solidFill>
                  <a:srgbClr val="FF0000"/>
                </a:solidFill>
              </a:rPr>
              <a:t>ю</a:t>
            </a:r>
            <a:r>
              <a:rPr lang="ru-RU" sz="1800" i="1" dirty="0" smtClean="0">
                <a:solidFill>
                  <a:srgbClr val="FF0000"/>
                </a:solidFill>
              </a:rPr>
              <a:t>, е) </a:t>
            </a:r>
            <a:r>
              <a:rPr lang="ru-RU" sz="1800" i="1" dirty="0" smtClean="0">
                <a:solidFill>
                  <a:schemeClr val="tx1"/>
                </a:solidFill>
              </a:rPr>
              <a:t>обозначает звук </a:t>
            </a:r>
            <a:r>
              <a:rPr lang="ru-RU" sz="1800" i="1" dirty="0" smtClean="0">
                <a:solidFill>
                  <a:srgbClr val="FF0000"/>
                </a:solidFill>
              </a:rPr>
              <a:t>[а] ([о], [у], [э]) </a:t>
            </a:r>
            <a:r>
              <a:rPr lang="ru-RU" sz="1800" i="1" dirty="0" smtClean="0">
                <a:solidFill>
                  <a:schemeClr val="tx1"/>
                </a:solidFill>
              </a:rPr>
              <a:t>после </a:t>
            </a:r>
            <a:r>
              <a:rPr lang="ru-RU" sz="1800" dirty="0" smtClean="0">
                <a:solidFill>
                  <a:schemeClr val="tx1"/>
                </a:solidFill>
              </a:rPr>
              <a:t>мягкого согласного звука.</a:t>
            </a:r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5149" t="9751" r="37737" b="13609"/>
          <a:stretch>
            <a:fillRect/>
          </a:stretch>
        </p:blipFill>
        <p:spPr bwMode="auto">
          <a:xfrm>
            <a:off x="592083" y="1295934"/>
            <a:ext cx="4454586" cy="4921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5703903" y="4414851"/>
            <a:ext cx="511182" cy="4016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215085" y="4414851"/>
            <a:ext cx="511182" cy="40164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7237449" y="4414851"/>
            <a:ext cx="511182" cy="401643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5813442" y="5254650"/>
            <a:ext cx="511182" cy="401643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6324624" y="5254650"/>
            <a:ext cx="511182" cy="4016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И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835806" y="5254650"/>
            <a:ext cx="511182" cy="401643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7346988" y="5254650"/>
            <a:ext cx="511182" cy="4016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Я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726267" y="4414851"/>
            <a:ext cx="511182" cy="40164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7748631" y="4414851"/>
            <a:ext cx="511182" cy="40164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726267" y="4414851"/>
            <a:ext cx="511182" cy="401643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А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748631" y="4414851"/>
            <a:ext cx="511182" cy="40164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И</a:t>
            </a:r>
            <a:endParaRPr lang="ru-RU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3466" y="215856"/>
            <a:ext cx="8880534" cy="1143000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tx1"/>
                </a:solidFill>
              </a:rPr>
              <a:t>Преобразование одного слова </a:t>
            </a:r>
            <a:br>
              <a:rPr lang="ru-RU" sz="2800" b="1" dirty="0" smtClean="0">
                <a:solidFill>
                  <a:schemeClr val="tx1"/>
                </a:solidFill>
              </a:rPr>
            </a:br>
            <a:r>
              <a:rPr lang="ru-RU" sz="2800" b="1" dirty="0" smtClean="0">
                <a:solidFill>
                  <a:schemeClr val="tx1"/>
                </a:solidFill>
              </a:rPr>
              <a:t>в другое путём замены буквы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5613" t="14367" r="39594" b="7684"/>
          <a:stretch>
            <a:fillRect/>
          </a:stretch>
        </p:blipFill>
        <p:spPr bwMode="auto">
          <a:xfrm>
            <a:off x="555570" y="1420785"/>
            <a:ext cx="3286170" cy="4574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/>
          <a:srcRect l="22227" t="14567" r="38242" b="9065"/>
          <a:stretch>
            <a:fillRect/>
          </a:stretch>
        </p:blipFill>
        <p:spPr bwMode="auto">
          <a:xfrm>
            <a:off x="4754565" y="1530324"/>
            <a:ext cx="3578274" cy="4530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92971"/>
          </a:xfrm>
        </p:spPr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Словоизменен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9928" t="38034" r="54371" b="38877"/>
          <a:stretch>
            <a:fillRect/>
          </a:stretch>
        </p:blipFill>
        <p:spPr bwMode="auto">
          <a:xfrm>
            <a:off x="738134" y="1822428"/>
            <a:ext cx="2824367" cy="3322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Прямоугольник 5"/>
          <p:cNvSpPr/>
          <p:nvPr/>
        </p:nvSpPr>
        <p:spPr>
          <a:xfrm>
            <a:off x="1249317" y="4341825"/>
            <a:ext cx="657234" cy="69374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563785" y="4341825"/>
            <a:ext cx="693747" cy="69374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906551" y="4341825"/>
            <a:ext cx="657234" cy="69374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400" b="1" dirty="0" smtClean="0">
                <a:solidFill>
                  <a:srgbClr val="FF0000"/>
                </a:solidFill>
              </a:rPr>
              <a:t>У</a:t>
            </a:r>
            <a:endParaRPr lang="ru-RU" sz="5400" b="1" dirty="0">
              <a:solidFill>
                <a:srgbClr val="FF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0441" y="873090"/>
            <a:ext cx="869009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Особая сложность обучения чтению в русской грамоте заключается в том, что </a:t>
            </a:r>
            <a:r>
              <a:rPr lang="ru-RU" dirty="0" smtClean="0">
                <a:solidFill>
                  <a:srgbClr val="FF0000"/>
                </a:solidFill>
              </a:rPr>
              <a:t>букв</a:t>
            </a:r>
            <a:r>
              <a:rPr lang="ru-RU" dirty="0" smtClean="0"/>
              <a:t> в нашем алфавите </a:t>
            </a:r>
            <a:r>
              <a:rPr lang="ru-RU" dirty="0" smtClean="0">
                <a:solidFill>
                  <a:srgbClr val="FF0000"/>
                </a:solidFill>
              </a:rPr>
              <a:t>меньше, чем звуков</a:t>
            </a:r>
            <a:r>
              <a:rPr lang="ru-RU" dirty="0" smtClean="0"/>
              <a:t>.</a:t>
            </a:r>
            <a:r>
              <a:rPr lang="ru-RU" dirty="0" smtClean="0">
                <a:solidFill>
                  <a:srgbClr val="FF0000"/>
                </a:solidFill>
              </a:rPr>
              <a:t> 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Пары</a:t>
            </a:r>
            <a:r>
              <a:rPr lang="ru-RU" dirty="0" smtClean="0"/>
              <a:t> твёрдых и мягких согласных обозначаются </a:t>
            </a:r>
            <a:r>
              <a:rPr lang="ru-RU" dirty="0" smtClean="0">
                <a:solidFill>
                  <a:srgbClr val="FF0000"/>
                </a:solidFill>
              </a:rPr>
              <a:t>одной и той же буквой</a:t>
            </a:r>
            <a:r>
              <a:rPr lang="ru-RU" dirty="0" smtClean="0"/>
              <a:t>.</a:t>
            </a:r>
            <a:endParaRPr lang="ru-RU" dirty="0" smtClean="0">
              <a:solidFill>
                <a:srgbClr val="FF0000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/>
          <a:srcRect l="4177" t="33146" r="40319" b="17642"/>
          <a:stretch>
            <a:fillRect/>
          </a:stretch>
        </p:blipFill>
        <p:spPr bwMode="auto">
          <a:xfrm>
            <a:off x="4937130" y="2187558"/>
            <a:ext cx="2628936" cy="1864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Прямоугольник 13"/>
          <p:cNvSpPr/>
          <p:nvPr/>
        </p:nvSpPr>
        <p:spPr>
          <a:xfrm>
            <a:off x="153927" y="5364189"/>
            <a:ext cx="86535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Происходит усвоение принципа </a:t>
            </a:r>
            <a:r>
              <a:rPr lang="ru-RU" dirty="0" smtClean="0">
                <a:solidFill>
                  <a:srgbClr val="FF0000"/>
                </a:solidFill>
              </a:rPr>
              <a:t>чтения прямого слога</a:t>
            </a:r>
            <a:r>
              <a:rPr lang="ru-RU" dirty="0" smtClean="0"/>
              <a:t>, даже не зная букв согласных звуков, минуя муки слияния.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870038" y="4341825"/>
            <a:ext cx="693747" cy="69374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Ю</a:t>
            </a:r>
            <a:endParaRPr lang="ru-RU" sz="48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>
                <a:solidFill>
                  <a:schemeClr val="tx1"/>
                </a:solidFill>
              </a:rPr>
              <a:t>В «Букваре» и в «Прописях»</a:t>
            </a:r>
            <a:r>
              <a:rPr lang="ru-RU" dirty="0" smtClean="0">
                <a:solidFill>
                  <a:schemeClr val="tx1"/>
                </a:solidFill>
              </a:rPr>
              <a:t/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sz="1800" dirty="0" smtClean="0">
                <a:solidFill>
                  <a:schemeClr val="tx1"/>
                </a:solidFill>
              </a:rPr>
              <a:t>по мере усвоения материала появляется всё больше заданий, направленных на формирование </a:t>
            </a:r>
            <a:r>
              <a:rPr lang="ru-RU" sz="1800" dirty="0" smtClean="0">
                <a:solidFill>
                  <a:srgbClr val="FF0000"/>
                </a:solidFill>
              </a:rPr>
              <a:t>самоконтроля и самооценки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  <p:pic>
        <p:nvPicPr>
          <p:cNvPr id="15363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4503" t="12171" r="39674" b="9575"/>
          <a:stretch>
            <a:fillRect/>
          </a:stretch>
        </p:blipFill>
        <p:spPr bwMode="auto">
          <a:xfrm>
            <a:off x="920700" y="1457298"/>
            <a:ext cx="3432222" cy="4689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3"/>
          <a:srcRect l="53010" t="21712" r="5962" b="8658"/>
          <a:stretch>
            <a:fillRect/>
          </a:stretch>
        </p:blipFill>
        <p:spPr bwMode="auto">
          <a:xfrm>
            <a:off x="4718052" y="1420785"/>
            <a:ext cx="3614787" cy="4907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Учимся читат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  <p:pic>
        <p:nvPicPr>
          <p:cNvPr id="1945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3858" t="10557" r="37092" b="10382"/>
          <a:stretch>
            <a:fillRect/>
          </a:stretch>
        </p:blipFill>
        <p:spPr bwMode="auto">
          <a:xfrm>
            <a:off x="409518" y="1055655"/>
            <a:ext cx="3906891" cy="5037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5813442" y="2662227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/>
          <a:srcRect l="14503" t="10557" r="40964" b="24903"/>
          <a:stretch>
            <a:fillRect/>
          </a:stretch>
        </p:blipFill>
        <p:spPr bwMode="auto">
          <a:xfrm>
            <a:off x="4645026" y="1457298"/>
            <a:ext cx="3810588" cy="4418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6031" y="0"/>
            <a:ext cx="8229600" cy="873090"/>
          </a:xfrm>
        </p:spPr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Учимся читать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/>
          <a:srcRect l="15702" t="17167" r="39804" b="7427"/>
          <a:stretch>
            <a:fillRect/>
          </a:stretch>
        </p:blipFill>
        <p:spPr bwMode="auto">
          <a:xfrm>
            <a:off x="105396" y="763552"/>
            <a:ext cx="4093599" cy="5549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33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 l="12567" t="12978" r="37092" b="7155"/>
          <a:stretch>
            <a:fillRect/>
          </a:stretch>
        </p:blipFill>
        <p:spPr bwMode="auto">
          <a:xfrm>
            <a:off x="4279896" y="873090"/>
            <a:ext cx="4418073" cy="560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6952" y="179342"/>
            <a:ext cx="8580555" cy="1424007"/>
          </a:xfrm>
        </p:spPr>
        <p:txBody>
          <a:bodyPr/>
          <a:lstStyle/>
          <a:p>
            <a:r>
              <a:rPr lang="ru-RU" sz="1800" dirty="0" smtClean="0">
                <a:solidFill>
                  <a:schemeClr val="tx1"/>
                </a:solidFill>
              </a:rPr>
              <a:t>Очень полезно давать иногда задание, </a:t>
            </a:r>
            <a:r>
              <a:rPr lang="ru-RU" sz="1800" dirty="0" smtClean="0">
                <a:solidFill>
                  <a:srgbClr val="FF0000"/>
                </a:solidFill>
              </a:rPr>
              <a:t>не имеющее решения</a:t>
            </a:r>
            <a:r>
              <a:rPr lang="ru-RU" sz="1800" dirty="0" smtClean="0">
                <a:solidFill>
                  <a:schemeClr val="tx1"/>
                </a:solidFill>
              </a:rPr>
              <a:t>. </a:t>
            </a:r>
            <a:br>
              <a:rPr lang="ru-RU" sz="1800" dirty="0" smtClean="0">
                <a:solidFill>
                  <a:schemeClr val="tx1"/>
                </a:solidFill>
              </a:rPr>
            </a:br>
            <a:r>
              <a:rPr lang="ru-RU" sz="1800" dirty="0" smtClean="0">
                <a:solidFill>
                  <a:schemeClr val="tx1"/>
                </a:solidFill>
              </a:rPr>
              <a:t>Например, при соотнесении рисунков с моделями слов (таких заданий в учебнике много) дать такую модель, которой не соответствует ни один рисунок (слово).</a:t>
            </a: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  <p:pic>
        <p:nvPicPr>
          <p:cNvPr id="18438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12567" t="11364" r="38383" b="7155"/>
          <a:stretch>
            <a:fillRect/>
          </a:stretch>
        </p:blipFill>
        <p:spPr bwMode="auto">
          <a:xfrm>
            <a:off x="2563785" y="1493811"/>
            <a:ext cx="3505248" cy="4658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19945"/>
          </a:xfrm>
        </p:spPr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Учимся игра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13761" y="6203988"/>
            <a:ext cx="823864" cy="517487"/>
          </a:xfrm>
        </p:spPr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29</a:t>
            </a:fld>
            <a:endParaRPr lang="ru-RU" dirty="0"/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153927" y="909603"/>
            <a:ext cx="8544041" cy="620721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ru-RU" sz="2000" dirty="0" smtClean="0">
                <a:solidFill>
                  <a:srgbClr val="FF0000"/>
                </a:solidFill>
              </a:rPr>
              <a:t>Присутствие игры на уроке правомерно только тогда, когда она служит </a:t>
            </a:r>
            <a:r>
              <a:rPr lang="ru-RU" sz="2000" u="sng" dirty="0" smtClean="0">
                <a:solidFill>
                  <a:srgbClr val="FF0000"/>
                </a:solidFill>
              </a:rPr>
              <a:t>методом обучения</a:t>
            </a:r>
            <a:r>
              <a:rPr lang="ru-RU" sz="2000" dirty="0" smtClean="0">
                <a:solidFill>
                  <a:srgbClr val="FF0000"/>
                </a:solidFill>
              </a:rPr>
              <a:t>, а не средством развлечения уставших учеников.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895454"/>
            <a:ext cx="88805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Игра «Назови слово с нужным звуком»  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С</a:t>
            </a:r>
            <a:r>
              <a:rPr lang="ru-RU" b="1" dirty="0" smtClean="0"/>
              <a:t>, </a:t>
            </a:r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М</a:t>
            </a:r>
            <a:r>
              <a:rPr lang="ru-RU" b="1" dirty="0" smtClean="0"/>
              <a:t>, </a:t>
            </a:r>
            <a:r>
              <a:rPr lang="ru-RU" b="1" dirty="0" smtClean="0">
                <a:solidFill>
                  <a:srgbClr val="FF0000"/>
                </a:solidFill>
              </a:rPr>
              <a:t>А</a:t>
            </a:r>
            <a:r>
              <a:rPr lang="ru-RU" b="1" dirty="0" smtClean="0"/>
              <a:t>, 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Б</a:t>
            </a:r>
            <a:r>
              <a:rPr lang="ru-RU" b="1" dirty="0" smtClean="0"/>
              <a:t>, </a:t>
            </a:r>
            <a:r>
              <a:rPr lang="ru-RU" b="1" dirty="0" smtClean="0">
                <a:solidFill>
                  <a:srgbClr val="00B050"/>
                </a:solidFill>
              </a:rPr>
              <a:t>Н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2406636"/>
            <a:ext cx="87344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/>
              <a:t>         Игра «Как тебя зовут?»  </a:t>
            </a:r>
            <a:r>
              <a:rPr lang="ru-RU" b="1" i="1" dirty="0" smtClean="0">
                <a:solidFill>
                  <a:srgbClr val="FF0000"/>
                </a:solidFill>
              </a:rPr>
              <a:t>А</a:t>
            </a:r>
            <a:r>
              <a:rPr lang="ru-RU" b="1" i="1" dirty="0" smtClean="0"/>
              <a:t>ня, </a:t>
            </a:r>
            <a:r>
              <a:rPr lang="ru-RU" b="1" i="1" dirty="0" smtClean="0">
                <a:solidFill>
                  <a:srgbClr val="FF0000"/>
                </a:solidFill>
              </a:rPr>
              <a:t>О</a:t>
            </a:r>
            <a:r>
              <a:rPr lang="ru-RU" b="1" i="1" dirty="0" smtClean="0"/>
              <a:t>ля, </a:t>
            </a:r>
            <a:r>
              <a:rPr lang="ru-RU" b="1" i="1" dirty="0" smtClean="0">
                <a:solidFill>
                  <a:srgbClr val="FF0000"/>
                </a:solidFill>
              </a:rPr>
              <a:t>А</a:t>
            </a:r>
            <a:r>
              <a:rPr lang="ru-RU" b="1" i="1" dirty="0" smtClean="0"/>
              <a:t>ртем, </a:t>
            </a:r>
            <a:r>
              <a:rPr lang="ru-RU" b="1" i="1" dirty="0" smtClean="0">
                <a:solidFill>
                  <a:schemeClr val="accent3">
                    <a:lumMod val="75000"/>
                  </a:schemeClr>
                </a:solidFill>
              </a:rPr>
              <a:t>М</a:t>
            </a:r>
            <a:r>
              <a:rPr lang="ru-RU" b="1" i="1" dirty="0" smtClean="0"/>
              <a:t>иша, </a:t>
            </a:r>
            <a:r>
              <a:rPr lang="ru-RU" b="1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С</a:t>
            </a:r>
            <a:r>
              <a:rPr lang="ru-RU" b="1" i="1" dirty="0" smtClean="0"/>
              <a:t>аша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0" y="2808279"/>
            <a:ext cx="57769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/>
              <a:t>   Игра «Волшебная палочка»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90440" y="3246435"/>
            <a:ext cx="8953560" cy="255591"/>
          </a:xfrm>
          <a:prstGeom prst="rect">
            <a:avLst/>
          </a:prstGeom>
        </p:spPr>
        <p:txBody>
          <a:bodyPr vert="horz" wrap="non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                  Игра «Найди свою схему»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26953" y="3611565"/>
            <a:ext cx="89170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/>
              <a:t>                 Игра «Назови похожее»   </a:t>
            </a:r>
            <a:r>
              <a:rPr lang="ru-RU" b="1" i="1" dirty="0" smtClean="0">
                <a:solidFill>
                  <a:srgbClr val="FF0000"/>
                </a:solidFill>
              </a:rPr>
              <a:t>кит – кино, мел – мяч, дым-дом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900617" y="2917818"/>
            <a:ext cx="1279530" cy="1460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142059" y="2917818"/>
            <a:ext cx="1277955" cy="146052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4827591" y="3209922"/>
            <a:ext cx="511182" cy="32861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338773" y="3209922"/>
            <a:ext cx="511182" cy="328617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849955" y="3209922"/>
            <a:ext cx="511182" cy="328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6981858" y="3173409"/>
            <a:ext cx="511182" cy="328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7493040" y="3173409"/>
            <a:ext cx="511182" cy="32861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8004222" y="3173409"/>
            <a:ext cx="511182" cy="328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/>
          <a:srcRect l="48709" t="25885" r="39028" b="52333"/>
          <a:stretch>
            <a:fillRect/>
          </a:stretch>
        </p:blipFill>
        <p:spPr bwMode="auto">
          <a:xfrm>
            <a:off x="8077248" y="1566837"/>
            <a:ext cx="839799" cy="119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3"/>
          <a:srcRect l="50000" t="64609" r="39028" b="19256"/>
          <a:stretch>
            <a:fillRect/>
          </a:stretch>
        </p:blipFill>
        <p:spPr bwMode="auto">
          <a:xfrm>
            <a:off x="0" y="1639863"/>
            <a:ext cx="839799" cy="98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3" name="TextBox 22"/>
          <p:cNvSpPr txBox="1"/>
          <p:nvPr/>
        </p:nvSpPr>
        <p:spPr>
          <a:xfrm>
            <a:off x="153927" y="3976695"/>
            <a:ext cx="8661456" cy="438157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dirty="0" smtClean="0">
                <a:latin typeface="+mj-lt"/>
                <a:ea typeface="+mj-ea"/>
                <a:cs typeface="+mj-cs"/>
              </a:rPr>
              <a:t>                 Игра «Живые модели»   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462461" y="4086234"/>
            <a:ext cx="511182" cy="32861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4973643" y="4086234"/>
            <a:ext cx="511182" cy="328617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5484825" y="4086234"/>
            <a:ext cx="511182" cy="328616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5996007" y="4086234"/>
            <a:ext cx="511182" cy="3286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6507189" y="4086234"/>
            <a:ext cx="511182" cy="328617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446031" y="4524390"/>
            <a:ext cx="817891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( </a:t>
            </a:r>
            <a:r>
              <a:rPr lang="ru-RU" sz="1600" dirty="0" smtClean="0"/>
              <a:t>«Пусть подойдёт ко мне первый гласный звук, второй гласный звук, второй мягкий</a:t>
            </a:r>
          </a:p>
          <a:p>
            <a:r>
              <a:rPr lang="ru-RU" sz="1600" dirty="0" smtClean="0"/>
              <a:t>     согласный звук, первый мягкий согласный звук, твёрдый согласный звук».</a:t>
            </a:r>
            <a:endParaRPr lang="ru-RU" sz="16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263466" y="5583267"/>
            <a:ext cx="85440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    «Подойдёт ко мне второй звук в слове, первый звук, пятый, четвёртый, третий».)</a:t>
            </a:r>
            <a:endParaRPr lang="ru-RU" sz="16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65109" y="5035572"/>
            <a:ext cx="81058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 «Второй согласный звук слова, поставь на место свою фишку и садись; первый согласный звук, поставь свою фишку на место и садись и т.д.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414" y="116632"/>
            <a:ext cx="8909172" cy="1143000"/>
          </a:xfrm>
        </p:spPr>
        <p:txBody>
          <a:bodyPr/>
          <a:lstStyle/>
          <a:p>
            <a:pPr algn="ctr"/>
            <a:r>
              <a:rPr lang="ru-RU" b="1" dirty="0" smtClean="0"/>
              <a:t>Проектирование и анализ курса</a:t>
            </a:r>
            <a:br>
              <a:rPr lang="ru-RU" b="1" dirty="0" smtClean="0"/>
            </a:br>
            <a:r>
              <a:rPr lang="ru-RU" b="1" dirty="0" smtClean="0"/>
              <a:t>Обучение грамоте в условиях реализации ФГОС</a:t>
            </a: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174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6120" t="17011" r="26766" b="7155"/>
          <a:stretch>
            <a:fillRect/>
          </a:stretch>
        </p:blipFill>
        <p:spPr bwMode="auto">
          <a:xfrm>
            <a:off x="142844" y="1500174"/>
            <a:ext cx="2385573" cy="3071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 cstate="print"/>
          <a:srcRect l="26055" t="17066" r="26028" b="6037"/>
          <a:stretch>
            <a:fillRect/>
          </a:stretch>
        </p:blipFill>
        <p:spPr bwMode="auto">
          <a:xfrm>
            <a:off x="714348" y="3071810"/>
            <a:ext cx="2262229" cy="2904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11" descr="3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2082" t="51268" r="62797" b="11087"/>
          <a:stretch>
            <a:fillRect/>
          </a:stretch>
        </p:blipFill>
        <p:spPr bwMode="auto">
          <a:xfrm>
            <a:off x="3143240" y="2000240"/>
            <a:ext cx="3541715" cy="2857520"/>
          </a:xfrm>
          <a:prstGeom prst="roundRect">
            <a:avLst/>
          </a:prstGeom>
          <a:noFill/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6086490" y="5103674"/>
            <a:ext cx="305751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Терехова Юлия Александровна</a:t>
            </a:r>
          </a:p>
          <a:p>
            <a:pPr algn="ctr"/>
            <a:r>
              <a:rPr lang="ru-RU" dirty="0" smtClean="0"/>
              <a:t>Методист по начальному образованию отдела </a:t>
            </a:r>
            <a:r>
              <a:rPr lang="ru-RU" dirty="0" err="1" smtClean="0"/>
              <a:t>ДиНО</a:t>
            </a:r>
            <a:r>
              <a:rPr lang="ru-RU" dirty="0" smtClean="0"/>
              <a:t> </a:t>
            </a:r>
          </a:p>
          <a:p>
            <a:pPr algn="ctr"/>
            <a:r>
              <a:rPr lang="en-US" dirty="0" smtClean="0">
                <a:hlinkClick r:id="rId5"/>
              </a:rPr>
              <a:t>Terehova.ya@vgf.ru</a:t>
            </a:r>
            <a:endParaRPr lang="en-US" dirty="0" smtClean="0"/>
          </a:p>
          <a:p>
            <a:pPr algn="ctr"/>
            <a:endParaRPr lang="ru-RU" dirty="0"/>
          </a:p>
        </p:txBody>
      </p:sp>
      <p:pic>
        <p:nvPicPr>
          <p:cNvPr id="31746" name="Picture 2" descr="Картинки по запросу игрушки фото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86579" y="2786058"/>
            <a:ext cx="2357422" cy="162879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C00000"/>
                </a:solidFill>
              </a:rPr>
              <a:t>Графический навык —</a:t>
            </a:r>
            <a:r>
              <a:rPr lang="ru-RU" sz="2000" dirty="0" smtClean="0">
                <a:solidFill>
                  <a:schemeClr val="tx1"/>
                </a:solidFill>
              </a:rPr>
              <a:t/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это определённые привычные положения и движения пишущей руки, 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позволяющие изображать письменные знаки и их соединения.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 flipH="1">
            <a:off x="8686799" y="6057936"/>
            <a:ext cx="157221" cy="68227"/>
          </a:xfrm>
        </p:spPr>
        <p:txBody>
          <a:bodyPr>
            <a:normAutofit fontScale="25000" lnSpcReduction="2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  <p:pic>
        <p:nvPicPr>
          <p:cNvPr id="2052" name="Picture 4" descr="Картинки по запросу детская одежда 80х годов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9518" y="1457298"/>
            <a:ext cx="2446371" cy="1863902"/>
          </a:xfrm>
          <a:prstGeom prst="rect">
            <a:avLst/>
          </a:prstGeom>
          <a:noFill/>
        </p:spPr>
      </p:pic>
      <p:pic>
        <p:nvPicPr>
          <p:cNvPr id="2054" name="Picture 6" descr="Картинки по запросу современная детская одежда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47071" y="1420785"/>
            <a:ext cx="2353730" cy="1898676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299979" y="3319461"/>
            <a:ext cx="30670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Бесконечное количество пуговиц, шнурков и т. п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411799" y="3392487"/>
            <a:ext cx="37322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У современного ребёнка - почти всё на молниях </a:t>
            </a:r>
            <a:r>
              <a:rPr lang="ru-RU" dirty="0" smtClean="0"/>
              <a:t>и</a:t>
            </a:r>
            <a:r>
              <a:rPr lang="en-US" dirty="0" smtClean="0"/>
              <a:t> </a:t>
            </a:r>
            <a:r>
              <a:rPr lang="ru-RU" dirty="0" smtClean="0"/>
              <a:t>липучках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0" y="5911884"/>
            <a:ext cx="37753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Играли, лепили, рисовали, шили.</a:t>
            </a:r>
            <a:endParaRPr lang="ru-RU" dirty="0"/>
          </a:p>
        </p:txBody>
      </p:sp>
      <p:pic>
        <p:nvPicPr>
          <p:cNvPr id="2056" name="Picture 8" descr="Картинки по запросу досуг детей прошлого века"/>
          <p:cNvPicPr>
            <a:picLocks noChangeAspect="1" noChangeArrowheads="1"/>
          </p:cNvPicPr>
          <p:nvPr/>
        </p:nvPicPr>
        <p:blipFill>
          <a:blip r:embed="rId4"/>
          <a:srcRect l="18688" t="22798" r="11353" b="7032"/>
          <a:stretch>
            <a:fillRect/>
          </a:stretch>
        </p:blipFill>
        <p:spPr bwMode="auto">
          <a:xfrm>
            <a:off x="373005" y="4049721"/>
            <a:ext cx="2468008" cy="1825650"/>
          </a:xfrm>
          <a:prstGeom prst="rect">
            <a:avLst/>
          </a:prstGeom>
          <a:noFill/>
        </p:spPr>
      </p:pic>
      <p:pic>
        <p:nvPicPr>
          <p:cNvPr id="2058" name="Picture 10" descr="Картинки по запросу дети смотрят телевизор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959494" y="4086234"/>
            <a:ext cx="2409858" cy="1835466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6178571" y="5692806"/>
            <a:ext cx="731835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Смотрят телевизор,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играют в компьютер</a:t>
            </a:r>
          </a:p>
        </p:txBody>
      </p:sp>
      <p:sp>
        <p:nvSpPr>
          <p:cNvPr id="14" name="Плюс 13"/>
          <p:cNvSpPr/>
          <p:nvPr/>
        </p:nvSpPr>
        <p:spPr>
          <a:xfrm>
            <a:off x="3147993" y="2041506"/>
            <a:ext cx="914400" cy="914400"/>
          </a:xfrm>
          <a:prstGeom prst="mathPlus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Минус 14"/>
          <p:cNvSpPr/>
          <p:nvPr/>
        </p:nvSpPr>
        <p:spPr>
          <a:xfrm>
            <a:off x="4827591" y="1931967"/>
            <a:ext cx="914400" cy="914400"/>
          </a:xfrm>
          <a:prstGeom prst="mathMinus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люс 15"/>
          <p:cNvSpPr/>
          <p:nvPr/>
        </p:nvSpPr>
        <p:spPr>
          <a:xfrm>
            <a:off x="3038454" y="4341825"/>
            <a:ext cx="914400" cy="914400"/>
          </a:xfrm>
          <a:prstGeom prst="mathPlus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Минус 16"/>
          <p:cNvSpPr/>
          <p:nvPr/>
        </p:nvSpPr>
        <p:spPr>
          <a:xfrm>
            <a:off x="4791078" y="4378338"/>
            <a:ext cx="914400" cy="914400"/>
          </a:xfrm>
          <a:prstGeom prst="mathMinus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Обучение письму не мучение, а радость</a:t>
            </a:r>
            <a:br>
              <a:rPr lang="ru-RU" b="1" dirty="0" smtClean="0">
                <a:solidFill>
                  <a:schemeClr val="tx1"/>
                </a:solidFill>
              </a:rPr>
            </a:br>
            <a:endParaRPr lang="ru-RU" b="1" dirty="0" smtClean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-1" y="2443149"/>
            <a:ext cx="8917047" cy="3870377"/>
          </a:xfrm>
        </p:spPr>
        <p:txBody>
          <a:bodyPr/>
          <a:lstStyle/>
          <a:p>
            <a:pPr>
              <a:buNone/>
            </a:pPr>
            <a:r>
              <a:rPr lang="ru-RU" sz="1600" b="1" dirty="0" smtClean="0"/>
              <a:t>1</a:t>
            </a:r>
            <a:r>
              <a:rPr lang="ru-RU" sz="1600" dirty="0" smtClean="0"/>
              <a:t>.  Обучение чтению и обучение письму – единый процесс, и  основная задача работы  состоит в </a:t>
            </a:r>
            <a:r>
              <a:rPr lang="ru-RU" sz="1600" b="1" dirty="0" smtClean="0"/>
              <a:t>формировании предпосылок учебной деятельности.</a:t>
            </a:r>
            <a:endParaRPr lang="ru-RU" sz="1600" dirty="0" smtClean="0"/>
          </a:p>
          <a:p>
            <a:pPr>
              <a:buNone/>
            </a:pPr>
            <a:r>
              <a:rPr lang="ru-RU" sz="1600" b="1" dirty="0" smtClean="0"/>
              <a:t>2</a:t>
            </a:r>
            <a:r>
              <a:rPr lang="ru-RU" sz="1600" dirty="0" smtClean="0"/>
              <a:t>. Увеличена длительность </a:t>
            </a:r>
            <a:r>
              <a:rPr lang="ru-RU" sz="1600" b="1" dirty="0" smtClean="0"/>
              <a:t>подготовительного</a:t>
            </a:r>
            <a:r>
              <a:rPr lang="ru-RU" sz="1600" dirty="0" smtClean="0"/>
              <a:t> этапа. </a:t>
            </a:r>
          </a:p>
          <a:p>
            <a:pPr>
              <a:buNone/>
            </a:pPr>
            <a:r>
              <a:rPr lang="ru-RU" sz="1600" dirty="0" smtClean="0"/>
              <a:t>Это необходимо для отработки тех процессов, которые лежат в основе письма. </a:t>
            </a:r>
          </a:p>
          <a:p>
            <a:pPr>
              <a:buNone/>
            </a:pPr>
            <a:r>
              <a:rPr lang="ru-RU" sz="1600" b="1" dirty="0" smtClean="0"/>
              <a:t>3. В «Прописях» изменена высота строки. </a:t>
            </a:r>
          </a:p>
          <a:p>
            <a:pPr>
              <a:buNone/>
            </a:pPr>
            <a:r>
              <a:rPr lang="ru-RU" sz="1400" dirty="0" smtClean="0"/>
              <a:t>        Уменьшить объективные трудности при обучении письму можно в том случае, если правильно подготовить детей, но, кроме того, важно учитывать их возрастные возможности в процессе дальнейшего обучения. </a:t>
            </a:r>
          </a:p>
          <a:p>
            <a:pPr>
              <a:buNone/>
            </a:pPr>
            <a:r>
              <a:rPr lang="ru-RU" sz="1400" dirty="0" smtClean="0"/>
              <a:t>         Одним из путей достижения этого является специальное решение вопроса о высоте строки в прописях.  (широкая строки </a:t>
            </a:r>
            <a:r>
              <a:rPr lang="ru-RU" sz="1400" dirty="0" smtClean="0">
                <a:solidFill>
                  <a:srgbClr val="C00000"/>
                </a:solidFill>
              </a:rPr>
              <a:t>(16 + 8 мм) </a:t>
            </a:r>
            <a:r>
              <a:rPr lang="ru-RU" sz="1400" dirty="0" smtClean="0"/>
              <a:t>для осознанного анализа буквы, для первичной тренировки в написании буквы и более узкая строка </a:t>
            </a:r>
            <a:r>
              <a:rPr lang="ru-RU" sz="1400" dirty="0" smtClean="0">
                <a:solidFill>
                  <a:srgbClr val="C00000"/>
                </a:solidFill>
              </a:rPr>
              <a:t>(12 + 6 мм) </a:t>
            </a:r>
            <a:r>
              <a:rPr lang="ru-RU" sz="1400" dirty="0" smtClean="0"/>
              <a:t>для закрепления графического навыка. </a:t>
            </a:r>
          </a:p>
          <a:p>
            <a:pPr>
              <a:buNone/>
            </a:pPr>
            <a:r>
              <a:rPr lang="ru-RU" sz="1600" b="1" dirty="0" smtClean="0"/>
              <a:t>4. В прописях упрощено начертание некоторых письменных букв</a:t>
            </a:r>
            <a:r>
              <a:rPr lang="ru-RU" sz="1600" dirty="0" smtClean="0"/>
              <a:t>.</a:t>
            </a:r>
          </a:p>
          <a:p>
            <a:pPr>
              <a:buNone/>
            </a:pPr>
            <a:r>
              <a:rPr lang="ru-RU" sz="1600" dirty="0" smtClean="0"/>
              <a:t>Внимательно посмотрите на алфавит, помещённый в конце рабочих тетрадей «Прописи».</a:t>
            </a:r>
          </a:p>
          <a:p>
            <a:pPr>
              <a:buNone/>
            </a:pPr>
            <a:r>
              <a:rPr lang="ru-RU" sz="1600" b="1" dirty="0" smtClean="0"/>
              <a:t> 5.  Отказ от безотрывного письма </a:t>
            </a:r>
            <a:r>
              <a:rPr lang="ru-RU" sz="1600" dirty="0" smtClean="0"/>
              <a:t>и от введения различного типа соединений букв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1</a:t>
            </a:fld>
            <a:endParaRPr lang="ru-R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 l="3531" t="33146" r="39674" b="18449"/>
          <a:stretch>
            <a:fillRect/>
          </a:stretch>
        </p:blipFill>
        <p:spPr bwMode="auto">
          <a:xfrm>
            <a:off x="3074967" y="763551"/>
            <a:ext cx="2738475" cy="1716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5-конечная звезда 5"/>
          <p:cNvSpPr/>
          <p:nvPr/>
        </p:nvSpPr>
        <p:spPr>
          <a:xfrm>
            <a:off x="3841740" y="3648077"/>
            <a:ext cx="182565" cy="182565"/>
          </a:xfrm>
          <a:prstGeom prst="star5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C00000"/>
                </a:solidFill>
              </a:ln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Номер слайда 3"/>
          <p:cNvSpPr txBox="1">
            <a:spLocks/>
          </p:cNvSpPr>
          <p:nvPr/>
        </p:nvSpPr>
        <p:spPr>
          <a:xfrm>
            <a:off x="5411800" y="6130962"/>
            <a:ext cx="3525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сновой предлагаемой методики формирования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рафического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выка является концепция академика РАО,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иректора Института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изиологии и гигиены детей и подростков М.М. Безруких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5-конечная звезда 8"/>
          <p:cNvSpPr/>
          <p:nvPr/>
        </p:nvSpPr>
        <p:spPr>
          <a:xfrm>
            <a:off x="5119695" y="6130962"/>
            <a:ext cx="255591" cy="219078"/>
          </a:xfrm>
          <a:prstGeom prst="star5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n>
                <a:solidFill>
                  <a:srgbClr val="C00000"/>
                </a:solidFill>
              </a:ln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Номер слайда 3"/>
          <p:cNvSpPr txBox="1">
            <a:spLocks/>
          </p:cNvSpPr>
          <p:nvPr/>
        </p:nvSpPr>
        <p:spPr>
          <a:xfrm>
            <a:off x="6696102" y="6857999"/>
            <a:ext cx="2393923" cy="623944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 l="26766" t="18625" r="27411" b="7155"/>
          <a:stretch>
            <a:fillRect/>
          </a:stretch>
        </p:blipFill>
        <p:spPr bwMode="auto">
          <a:xfrm>
            <a:off x="153927" y="800064"/>
            <a:ext cx="1131903" cy="1466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4" cstate="print"/>
          <a:srcRect l="26766" t="18625" r="27411" b="7155"/>
          <a:stretch>
            <a:fillRect/>
          </a:stretch>
        </p:blipFill>
        <p:spPr bwMode="auto">
          <a:xfrm>
            <a:off x="7493040" y="800064"/>
            <a:ext cx="1127140" cy="146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Предпосылки овладения письмом:</a:t>
            </a:r>
            <a:br>
              <a:rPr lang="ru-RU" dirty="0" smtClean="0">
                <a:solidFill>
                  <a:schemeClr val="tx1"/>
                </a:solidFill>
              </a:rPr>
            </a:b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53927" y="873090"/>
            <a:ext cx="8726607" cy="5253074"/>
          </a:xfrm>
        </p:spPr>
        <p:txBody>
          <a:bodyPr/>
          <a:lstStyle/>
          <a:p>
            <a:pPr>
              <a:buNone/>
            </a:pPr>
            <a:endParaRPr lang="ru-RU" sz="1600" dirty="0" smtClean="0"/>
          </a:p>
          <a:p>
            <a:pPr>
              <a:buNone/>
            </a:pPr>
            <a:endParaRPr lang="ru-RU" sz="16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  <p:graphicFrame>
        <p:nvGraphicFramePr>
          <p:cNvPr id="7" name="Схема 6"/>
          <p:cNvGraphicFramePr/>
          <p:nvPr/>
        </p:nvGraphicFramePr>
        <p:xfrm>
          <a:off x="299978" y="946116"/>
          <a:ext cx="8507529" cy="5111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1266" name="Picture 2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805227" y="617499"/>
            <a:ext cx="1971702" cy="1314468"/>
          </a:xfrm>
          <a:prstGeom prst="cloudCallout">
            <a:avLst/>
          </a:prstGeom>
          <a:noFill/>
        </p:spPr>
      </p:pic>
      <p:pic>
        <p:nvPicPr>
          <p:cNvPr id="11268" name="Picture 4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117528" y="654012"/>
            <a:ext cx="2026472" cy="1350981"/>
          </a:xfrm>
          <a:prstGeom prst="cloudCallout">
            <a:avLst/>
          </a:prstGeom>
          <a:noFill/>
        </p:spPr>
      </p:pic>
      <p:pic>
        <p:nvPicPr>
          <p:cNvPr id="11270" name="Picture 6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872319" y="4743468"/>
            <a:ext cx="2446371" cy="1600532"/>
          </a:xfrm>
          <a:prstGeom prst="roundRect">
            <a:avLst/>
          </a:prstGeom>
          <a:noFill/>
        </p:spPr>
      </p:pic>
      <p:pic>
        <p:nvPicPr>
          <p:cNvPr id="11272" name="Picture 8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965428" y="2990844"/>
            <a:ext cx="1875376" cy="1460520"/>
          </a:xfrm>
          <a:prstGeom prst="flowChartMagneticTape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Подготовка к обучению письму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886" t="17818" r="4177" b="7155"/>
          <a:stretch>
            <a:fillRect/>
          </a:stretch>
        </p:blipFill>
        <p:spPr bwMode="auto">
          <a:xfrm>
            <a:off x="482544" y="946116"/>
            <a:ext cx="7923320" cy="5117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34934"/>
            <a:ext cx="8953560" cy="657234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chemeClr val="tx1"/>
                </a:solidFill>
              </a:rPr>
              <a:t>Основной упор делается на следующие приёмы обучения:</a:t>
            </a:r>
            <a:r>
              <a:rPr lang="ru-RU" sz="2400" b="1" dirty="0" smtClean="0"/>
              <a:t/>
            </a:r>
            <a:br>
              <a:rPr lang="ru-RU" sz="2400" b="1" dirty="0" smtClean="0"/>
            </a:br>
            <a:endParaRPr lang="ru-RU" sz="24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092168"/>
            <a:ext cx="8229600" cy="5033995"/>
          </a:xfrm>
        </p:spPr>
        <p:txBody>
          <a:bodyPr/>
          <a:lstStyle/>
          <a:p>
            <a:r>
              <a:rPr lang="ru-RU" sz="2000" dirty="0" smtClean="0"/>
              <a:t>Предварительный </a:t>
            </a:r>
            <a:r>
              <a:rPr lang="ru-RU" sz="2000" dirty="0" smtClean="0">
                <a:solidFill>
                  <a:srgbClr val="C00000"/>
                </a:solidFill>
              </a:rPr>
              <a:t>анализ </a:t>
            </a:r>
            <a:r>
              <a:rPr lang="ru-RU" sz="2000" dirty="0" smtClean="0"/>
              <a:t>предложенного задания с обязательным выделением </a:t>
            </a:r>
            <a:r>
              <a:rPr lang="ru-RU" sz="2000" dirty="0" smtClean="0">
                <a:solidFill>
                  <a:srgbClr val="C00000"/>
                </a:solidFill>
              </a:rPr>
              <a:t>точки начала движения</a:t>
            </a:r>
            <a:r>
              <a:rPr lang="ru-RU" sz="2000" dirty="0" smtClean="0"/>
              <a:t>, </a:t>
            </a:r>
            <a:r>
              <a:rPr lang="ru-RU" sz="2000" dirty="0" smtClean="0">
                <a:solidFill>
                  <a:srgbClr val="C00000"/>
                </a:solidFill>
              </a:rPr>
              <a:t>направления движения</a:t>
            </a:r>
            <a:r>
              <a:rPr lang="ru-RU" sz="2000" dirty="0" smtClean="0"/>
              <a:t>;</a:t>
            </a:r>
          </a:p>
          <a:p>
            <a:r>
              <a:rPr lang="ru-RU" sz="2000" dirty="0" smtClean="0"/>
              <a:t>Словесное описание </a:t>
            </a:r>
            <a:r>
              <a:rPr lang="ru-RU" sz="2000" dirty="0" smtClean="0">
                <a:solidFill>
                  <a:srgbClr val="C00000"/>
                </a:solidFill>
              </a:rPr>
              <a:t>алгоритма</a:t>
            </a:r>
            <a:r>
              <a:rPr lang="ru-RU" sz="2000" dirty="0" smtClean="0"/>
              <a:t> предстоящего действия;</a:t>
            </a:r>
          </a:p>
          <a:p>
            <a:r>
              <a:rPr lang="ru-RU" sz="2000" dirty="0" smtClean="0"/>
              <a:t> Точное следование </a:t>
            </a:r>
            <a:r>
              <a:rPr lang="ru-RU" sz="2000" dirty="0" smtClean="0">
                <a:solidFill>
                  <a:srgbClr val="C00000"/>
                </a:solidFill>
              </a:rPr>
              <a:t>условным обозначениям</a:t>
            </a:r>
            <a:r>
              <a:rPr lang="ru-RU" sz="2000" dirty="0" smtClean="0"/>
              <a:t>: точке начала движения и стрелке, указывающей направление движения;</a:t>
            </a:r>
          </a:p>
          <a:p>
            <a:r>
              <a:rPr lang="ru-RU" sz="2000" dirty="0" smtClean="0"/>
              <a:t> Выполнение действия;</a:t>
            </a:r>
          </a:p>
          <a:p>
            <a:r>
              <a:rPr lang="ru-RU" sz="2000" dirty="0" smtClean="0">
                <a:solidFill>
                  <a:srgbClr val="C00000"/>
                </a:solidFill>
              </a:rPr>
              <a:t>Сравнение </a:t>
            </a:r>
            <a:r>
              <a:rPr lang="ru-RU" sz="2000" dirty="0" smtClean="0"/>
              <a:t>выполненного задания </a:t>
            </a:r>
            <a:r>
              <a:rPr lang="ru-RU" sz="2000" dirty="0" smtClean="0">
                <a:solidFill>
                  <a:srgbClr val="C00000"/>
                </a:solidFill>
              </a:rPr>
              <a:t>с образцом </a:t>
            </a:r>
          </a:p>
          <a:p>
            <a:pPr>
              <a:buNone/>
            </a:pPr>
            <a:r>
              <a:rPr lang="ru-RU" sz="2000" dirty="0" smtClean="0">
                <a:solidFill>
                  <a:srgbClr val="C00000"/>
                </a:solidFill>
              </a:rPr>
              <a:t>      </a:t>
            </a:r>
            <a:r>
              <a:rPr lang="ru-RU" sz="2000" dirty="0" smtClean="0"/>
              <a:t>в начале строки как по составу </a:t>
            </a:r>
          </a:p>
          <a:p>
            <a:pPr>
              <a:buNone/>
            </a:pPr>
            <a:r>
              <a:rPr lang="ru-RU" sz="2000" dirty="0" smtClean="0"/>
              <a:t>      выполненных действий, </a:t>
            </a:r>
          </a:p>
          <a:p>
            <a:pPr>
              <a:buNone/>
            </a:pPr>
            <a:r>
              <a:rPr lang="ru-RU" sz="2000" dirty="0" smtClean="0"/>
              <a:t>       так и по качеству выполненной работы;</a:t>
            </a:r>
          </a:p>
          <a:p>
            <a:r>
              <a:rPr lang="ru-RU" sz="2000" dirty="0" smtClean="0">
                <a:solidFill>
                  <a:srgbClr val="C00000"/>
                </a:solidFill>
              </a:rPr>
              <a:t>Сравнение</a:t>
            </a:r>
            <a:r>
              <a:rPr lang="ru-RU" sz="2000" dirty="0" smtClean="0"/>
              <a:t> выполняемых заданий </a:t>
            </a:r>
            <a:r>
              <a:rPr lang="ru-RU" sz="2000" dirty="0" smtClean="0">
                <a:solidFill>
                  <a:srgbClr val="C00000"/>
                </a:solidFill>
              </a:rPr>
              <a:t>между собой.</a:t>
            </a:r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 l="8454" t="31202" r="85550" b="59697"/>
          <a:stretch>
            <a:fillRect/>
          </a:stretch>
        </p:blipFill>
        <p:spPr bwMode="auto">
          <a:xfrm>
            <a:off x="7858170" y="1530324"/>
            <a:ext cx="511182" cy="620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 l="53423" t="26919" r="40153" b="67727"/>
          <a:stretch>
            <a:fillRect/>
          </a:stretch>
        </p:blipFill>
        <p:spPr bwMode="auto">
          <a:xfrm>
            <a:off x="8223300" y="1420785"/>
            <a:ext cx="547695" cy="365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 l="52567" t="36555" r="33728" b="57556"/>
          <a:stretch>
            <a:fillRect/>
          </a:stretch>
        </p:blipFill>
        <p:spPr bwMode="auto">
          <a:xfrm>
            <a:off x="6543702" y="2516175"/>
            <a:ext cx="1168416" cy="401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 l="28151" t="34033" r="44895" b="25129"/>
          <a:stretch>
            <a:fillRect/>
          </a:stretch>
        </p:blipFill>
        <p:spPr bwMode="auto">
          <a:xfrm>
            <a:off x="6361137" y="3209922"/>
            <a:ext cx="2555910" cy="309799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tx1"/>
                </a:solidFill>
              </a:rPr>
              <a:t>Особенности обучения письму</a:t>
            </a:r>
            <a:br>
              <a:rPr lang="ru-RU" b="1" dirty="0" smtClean="0">
                <a:solidFill>
                  <a:schemeClr val="tx1"/>
                </a:solidFill>
              </a:rPr>
            </a:br>
            <a:r>
              <a:rPr lang="ru-RU" b="1" dirty="0" smtClean="0">
                <a:solidFill>
                  <a:schemeClr val="tx1"/>
                </a:solidFill>
              </a:rPr>
              <a:t>в процессе работы по тетрадям «Прописи»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 flipV="1">
            <a:off x="8077248" y="6126162"/>
            <a:ext cx="609552" cy="77825"/>
          </a:xfrm>
        </p:spPr>
        <p:txBody>
          <a:bodyPr>
            <a:normAutofit fontScale="25000" lnSpcReduction="20000"/>
          </a:bodyPr>
          <a:lstStyle/>
          <a:p>
            <a:pPr>
              <a:buNone/>
            </a:pPr>
            <a:endParaRPr lang="ru-RU" dirty="0" smtClean="0"/>
          </a:p>
          <a:p>
            <a:pPr>
              <a:buNone/>
            </a:pPr>
            <a:endParaRPr lang="ru-RU" dirty="0" smtClean="0"/>
          </a:p>
          <a:p>
            <a:pPr>
              <a:buNone/>
            </a:pPr>
            <a:endParaRPr lang="ru-RU" dirty="0" smtClean="0"/>
          </a:p>
          <a:p>
            <a:pPr>
              <a:buNone/>
            </a:pP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5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 rot="10800000" flipV="1">
            <a:off x="336492" y="5473727"/>
            <a:ext cx="7886808" cy="8398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r>
              <a:rPr lang="ru-RU" sz="2000" dirty="0" smtClean="0"/>
              <a:t>       </a:t>
            </a:r>
          </a:p>
          <a:p>
            <a:endParaRPr lang="ru-RU" sz="4200" dirty="0" smtClean="0"/>
          </a:p>
          <a:p>
            <a:pPr algn="ctr"/>
            <a:endParaRPr lang="ru-RU" sz="4200" dirty="0" smtClean="0"/>
          </a:p>
          <a:p>
            <a:pPr algn="ctr"/>
            <a:r>
              <a:rPr lang="ru-RU" sz="4800" dirty="0" smtClean="0"/>
              <a:t>     Первый этап — </a:t>
            </a:r>
            <a:r>
              <a:rPr lang="ru-RU" sz="4800" b="1" dirty="0" smtClean="0"/>
              <a:t>аналитический, </a:t>
            </a:r>
            <a:r>
              <a:rPr lang="ru-RU" sz="4800" dirty="0" smtClean="0"/>
              <a:t>вычленение отдельных элементов </a:t>
            </a:r>
          </a:p>
          <a:p>
            <a:pPr algn="ctr"/>
            <a:r>
              <a:rPr lang="ru-RU" sz="4800" dirty="0" smtClean="0"/>
              <a:t>        действия и овладение ими.  Второй этап условно назван </a:t>
            </a:r>
            <a:r>
              <a:rPr lang="ru-RU" sz="4800" b="1" dirty="0" smtClean="0"/>
              <a:t>синтетическим</a:t>
            </a:r>
            <a:r>
              <a:rPr lang="ru-RU" sz="4800" dirty="0" smtClean="0"/>
              <a:t>. </a:t>
            </a:r>
          </a:p>
          <a:p>
            <a:pPr algn="ctr"/>
            <a:r>
              <a:rPr lang="ru-RU" sz="4800" dirty="0" smtClean="0"/>
              <a:t>      (соединения отдельных элементов в целостное действие). Третий этап — </a:t>
            </a:r>
            <a:r>
              <a:rPr lang="ru-RU" sz="4800" b="1" dirty="0" smtClean="0"/>
              <a:t>автоматизация </a:t>
            </a:r>
            <a:r>
              <a:rPr lang="ru-RU" sz="4800" dirty="0" smtClean="0"/>
              <a:t>— </a:t>
            </a:r>
          </a:p>
          <a:p>
            <a:pPr algn="ctr"/>
            <a:r>
              <a:rPr lang="ru-RU" sz="4800" dirty="0" smtClean="0"/>
              <a:t>       и есть этап образования  навыка как действия.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 l="4177" t="19431" r="49895" b="8805"/>
          <a:stretch>
            <a:fillRect/>
          </a:stretch>
        </p:blipFill>
        <p:spPr bwMode="auto">
          <a:xfrm>
            <a:off x="2636811" y="1146937"/>
            <a:ext cx="3505248" cy="4381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Прямоугольник 6"/>
          <p:cNvSpPr/>
          <p:nvPr/>
        </p:nvSpPr>
        <p:spPr>
          <a:xfrm>
            <a:off x="6872320" y="1128681"/>
            <a:ext cx="215426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</a:t>
            </a:r>
          </a:p>
          <a:p>
            <a:r>
              <a:rPr lang="ru-RU" dirty="0" smtClean="0"/>
              <a:t>Таким образом, изначальное увлечение</a:t>
            </a:r>
          </a:p>
          <a:p>
            <a:r>
              <a:rPr lang="ru-RU" dirty="0" smtClean="0"/>
              <a:t>учителя «</a:t>
            </a:r>
            <a:r>
              <a:rPr lang="ru-RU" dirty="0" smtClean="0">
                <a:solidFill>
                  <a:srgbClr val="FF0000"/>
                </a:solidFill>
              </a:rPr>
              <a:t>тренажом</a:t>
            </a:r>
            <a:r>
              <a:rPr lang="ru-RU" dirty="0" smtClean="0"/>
              <a:t>» без отработки двух предыдущих этапов не только не способствует формированию навыка письма, но и </a:t>
            </a:r>
            <a:r>
              <a:rPr lang="ru-RU" dirty="0" smtClean="0">
                <a:solidFill>
                  <a:srgbClr val="C00000"/>
                </a:solidFill>
              </a:rPr>
              <a:t>тормозит </a:t>
            </a:r>
            <a:r>
              <a:rPr lang="ru-RU" dirty="0" smtClean="0"/>
              <a:t>его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17415" y="1311246"/>
            <a:ext cx="186216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ри написании каждой отдельной буквы школьник должен овладеть </a:t>
            </a:r>
            <a:r>
              <a:rPr lang="ru-RU" dirty="0" smtClean="0">
                <a:solidFill>
                  <a:srgbClr val="C00000"/>
                </a:solidFill>
              </a:rPr>
              <a:t>траекторией движения </a:t>
            </a:r>
            <a:r>
              <a:rPr lang="ru-RU" dirty="0" smtClean="0"/>
              <a:t>— откуда начать, куда вести, где закончить. 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https://reader.lecta.ru/read/8043/data/objects/b077277/index.html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6</a:t>
            </a:fld>
            <a:endParaRPr lang="ru-RU"/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4087813" y="3086100"/>
          <a:ext cx="966787" cy="685800"/>
        </p:xfrm>
        <a:graphic>
          <a:graphicData uri="http://schemas.openxmlformats.org/presentationml/2006/ole">
            <p:oleObj spid="_x0000_s1026" name="Объект упаковщика для оболочки" showAsIcon="1" r:id="rId3" imgW="966240" imgH="685440" progId="Package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38177" y="252369"/>
            <a:ext cx="9055224" cy="610406"/>
          </a:xfrm>
        </p:spPr>
        <p:txBody>
          <a:bodyPr/>
          <a:lstStyle/>
          <a:p>
            <a:r>
              <a:rPr lang="ru-RU" sz="2000" b="1" i="1" dirty="0" smtClean="0">
                <a:solidFill>
                  <a:schemeClr val="tx1"/>
                </a:solidFill>
              </a:rPr>
              <a:t>Действия, которые должен выполнить  ребёнок, пишущий какое-либо слово.</a:t>
            </a:r>
            <a:endParaRPr lang="ru-RU" sz="2000" b="1" i="1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496360" cy="4525963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7</a:t>
            </a:fld>
            <a:endParaRPr lang="ru-RU"/>
          </a:p>
        </p:txBody>
      </p:sp>
      <p:graphicFrame>
        <p:nvGraphicFramePr>
          <p:cNvPr id="5" name="Схема 4"/>
          <p:cNvGraphicFramePr/>
          <p:nvPr/>
        </p:nvGraphicFramePr>
        <p:xfrm>
          <a:off x="0" y="763552"/>
          <a:ext cx="8953559" cy="53308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42" name="Picture 2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498565" y="3465513"/>
            <a:ext cx="1645435" cy="1277955"/>
          </a:xfrm>
          <a:prstGeom prst="rect">
            <a:avLst/>
          </a:prstGeom>
          <a:noFill/>
        </p:spPr>
      </p:pic>
      <p:pic>
        <p:nvPicPr>
          <p:cNvPr id="10244" name="Picture 4" descr="Похожее изображение"/>
          <p:cNvPicPr>
            <a:picLocks noChangeAspect="1" noChangeArrowheads="1"/>
          </p:cNvPicPr>
          <p:nvPr/>
        </p:nvPicPr>
        <p:blipFill>
          <a:blip r:embed="rId7" cstate="print"/>
          <a:srcRect t="8333" b="6667"/>
          <a:stretch>
            <a:fillRect/>
          </a:stretch>
        </p:blipFill>
        <p:spPr bwMode="auto">
          <a:xfrm>
            <a:off x="336492" y="1128681"/>
            <a:ext cx="1898676" cy="1862163"/>
          </a:xfrm>
          <a:prstGeom prst="rect">
            <a:avLst/>
          </a:prstGeom>
          <a:noFill/>
        </p:spPr>
      </p:pic>
      <p:pic>
        <p:nvPicPr>
          <p:cNvPr id="10246" name="Picture 6" descr="Картинки по запросу ребенок не умеет писать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470676" y="1238220"/>
            <a:ext cx="2450871" cy="1789137"/>
          </a:xfrm>
          <a:prstGeom prst="rect">
            <a:avLst/>
          </a:prstGeom>
          <a:noFill/>
        </p:spPr>
      </p:pic>
      <p:sp>
        <p:nvSpPr>
          <p:cNvPr id="9" name="Стрелка вниз 8"/>
          <p:cNvSpPr/>
          <p:nvPr/>
        </p:nvSpPr>
        <p:spPr>
          <a:xfrm>
            <a:off x="519057" y="3063870"/>
            <a:ext cx="401643" cy="2117754"/>
          </a:xfrm>
          <a:prstGeom prst="down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 rot="5400000">
            <a:off x="7657348" y="4031464"/>
            <a:ext cx="293364" cy="548955"/>
          </a:xfrm>
          <a:prstGeom prst="downArrow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 rot="5400000">
            <a:off x="5959493" y="1712890"/>
            <a:ext cx="300807" cy="575505"/>
          </a:xfrm>
          <a:prstGeom prst="downArrow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" y="116632"/>
            <a:ext cx="8917046" cy="1143000"/>
          </a:xfrm>
        </p:spPr>
        <p:txBody>
          <a:bodyPr/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Обязательна одинаковая последовательность работы при изучении буквы: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0440" y="946116"/>
            <a:ext cx="8726607" cy="5329249"/>
          </a:xfrm>
        </p:spPr>
        <p:txBody>
          <a:bodyPr/>
          <a:lstStyle/>
          <a:p>
            <a:pPr>
              <a:buNone/>
            </a:pPr>
            <a:r>
              <a:rPr lang="ru-RU" sz="1600" dirty="0" smtClean="0"/>
              <a:t>1) поэлементный анализ зрительных образов печатных и письменных вариантов буквы; </a:t>
            </a:r>
          </a:p>
          <a:p>
            <a:pPr>
              <a:buNone/>
            </a:pPr>
            <a:endParaRPr lang="ru-RU" sz="1600" dirty="0" smtClean="0"/>
          </a:p>
          <a:p>
            <a:pPr>
              <a:buNone/>
            </a:pPr>
            <a:r>
              <a:rPr lang="ru-RU" sz="1600" dirty="0" smtClean="0"/>
              <a:t>2) сравнение этих вариантов между собой, выделение при знаков сходства и различия; </a:t>
            </a:r>
          </a:p>
          <a:p>
            <a:pPr>
              <a:buNone/>
            </a:pPr>
            <a:endParaRPr lang="ru-RU" sz="1600" dirty="0" smtClean="0"/>
          </a:p>
          <a:p>
            <a:pPr>
              <a:buNone/>
            </a:pPr>
            <a:r>
              <a:rPr lang="ru-RU" sz="1600" dirty="0" smtClean="0"/>
              <a:t>3) сравнение (нахождение признаков сходства и различия) изучаемой буквы с ранее изученными</a:t>
            </a:r>
          </a:p>
          <a:p>
            <a:pPr>
              <a:buNone/>
            </a:pPr>
            <a:r>
              <a:rPr lang="ru-RU" sz="1600" dirty="0" smtClean="0"/>
              <a:t>    по наличию тех или иных элементов, по их количеству, по </a:t>
            </a:r>
            <a:r>
              <a:rPr lang="ru-RU" sz="1400" dirty="0" smtClean="0"/>
              <a:t>распо</a:t>
            </a:r>
            <a:r>
              <a:rPr lang="ru-RU" sz="1600" dirty="0" smtClean="0"/>
              <a:t>ложению в пространстве;</a:t>
            </a:r>
          </a:p>
          <a:p>
            <a:pPr>
              <a:buNone/>
            </a:pPr>
            <a:r>
              <a:rPr lang="ru-RU" sz="1600" dirty="0" smtClean="0"/>
              <a:t> </a:t>
            </a:r>
          </a:p>
          <a:p>
            <a:pPr>
              <a:buNone/>
            </a:pPr>
            <a:r>
              <a:rPr lang="ru-RU" sz="1600" dirty="0" smtClean="0"/>
              <a:t>4) определение точки начала движения и всей траектории движения при письме курсивных букв;</a:t>
            </a:r>
          </a:p>
          <a:p>
            <a:pPr>
              <a:buNone/>
            </a:pPr>
            <a:endParaRPr lang="ru-RU" sz="1600" dirty="0" smtClean="0"/>
          </a:p>
          <a:p>
            <a:pPr>
              <a:buNone/>
            </a:pPr>
            <a:r>
              <a:rPr lang="ru-RU" sz="1600" dirty="0" smtClean="0"/>
              <a:t>5) словесное описание алгоритма предстоящих действий;</a:t>
            </a:r>
          </a:p>
          <a:p>
            <a:pPr>
              <a:buNone/>
            </a:pPr>
            <a:endParaRPr lang="ru-RU" sz="1600" dirty="0" smtClean="0"/>
          </a:p>
          <a:p>
            <a:pPr>
              <a:buNone/>
            </a:pPr>
            <a:r>
              <a:rPr lang="ru-RU" sz="1600" dirty="0" smtClean="0"/>
              <a:t>6) обязательный зрительный контроль в процессе выполнения движений, </a:t>
            </a:r>
          </a:p>
          <a:p>
            <a:pPr>
              <a:buNone/>
            </a:pPr>
            <a:r>
              <a:rPr lang="ru-RU" sz="1600" dirty="0" smtClean="0"/>
              <a:t>    заключающийся в сравнении написанной буквы с заданным образцом </a:t>
            </a:r>
          </a:p>
          <a:p>
            <a:pPr>
              <a:buNone/>
            </a:pPr>
            <a:r>
              <a:rPr lang="ru-RU" sz="1600" dirty="0" smtClean="0"/>
              <a:t>    и удержании правильного расположения буквы на рабочей строке; </a:t>
            </a:r>
          </a:p>
          <a:p>
            <a:pPr>
              <a:buNone/>
            </a:pPr>
            <a:endParaRPr lang="ru-RU" sz="1600" dirty="0" smtClean="0"/>
          </a:p>
          <a:p>
            <a:pPr>
              <a:buNone/>
            </a:pPr>
            <a:r>
              <a:rPr lang="ru-RU" sz="1600" dirty="0" smtClean="0"/>
              <a:t>7) сопоставление правильного и неправильного написания буквы, </a:t>
            </a:r>
          </a:p>
          <a:p>
            <a:pPr>
              <a:buNone/>
            </a:pPr>
            <a:r>
              <a:rPr lang="ru-RU" sz="1600" dirty="0" smtClean="0"/>
              <a:t>      оценка правильности выполненной работы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 l="9985" t="33146" r="51936" b="37811"/>
          <a:stretch>
            <a:fillRect/>
          </a:stretch>
        </p:blipFill>
        <p:spPr bwMode="auto">
          <a:xfrm>
            <a:off x="6799293" y="3502025"/>
            <a:ext cx="2154267" cy="1424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l="24184" t="19431" r="51936" b="66854"/>
          <a:stretch>
            <a:fillRect/>
          </a:stretch>
        </p:blipFill>
        <p:spPr bwMode="auto">
          <a:xfrm>
            <a:off x="7931196" y="1055655"/>
            <a:ext cx="1058877" cy="48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6" name="Picture 2" descr="Картинки по запросу я молодец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91397" y="4999059"/>
            <a:ext cx="1101714" cy="1542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16632"/>
            <a:ext cx="7310475" cy="1143000"/>
          </a:xfrm>
        </p:spPr>
        <p:txBody>
          <a:bodyPr/>
          <a:lstStyle/>
          <a:p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Этапы обучения письму</a:t>
            </a:r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" y="1639863"/>
            <a:ext cx="8880534" cy="4272021"/>
          </a:xfrm>
        </p:spPr>
        <p:txBody>
          <a:bodyPr/>
          <a:lstStyle/>
          <a:p>
            <a:endParaRPr lang="ru-RU" b="1" dirty="0" smtClean="0"/>
          </a:p>
          <a:p>
            <a:r>
              <a:rPr lang="ru-RU" b="1" dirty="0" smtClean="0"/>
              <a:t>Учимся правильно сидеть</a:t>
            </a:r>
          </a:p>
          <a:p>
            <a:r>
              <a:rPr lang="ru-RU" b="1" dirty="0" smtClean="0"/>
              <a:t>Учимся правильно держать ручку и бумагу</a:t>
            </a:r>
          </a:p>
          <a:p>
            <a:r>
              <a:rPr lang="ru-RU" b="1" dirty="0" smtClean="0"/>
              <a:t>Учимся рисовать прямые линии</a:t>
            </a:r>
          </a:p>
          <a:p>
            <a:r>
              <a:rPr lang="ru-RU" b="1" dirty="0" smtClean="0"/>
              <a:t>Учимся проводить прямые и наклонные параллельные линии</a:t>
            </a:r>
          </a:p>
          <a:p>
            <a:r>
              <a:rPr lang="ru-RU" b="1" dirty="0" smtClean="0"/>
              <a:t>Учимся проводить полуовалы</a:t>
            </a:r>
          </a:p>
          <a:p>
            <a:r>
              <a:rPr lang="ru-RU" b="1" dirty="0" smtClean="0"/>
              <a:t>Учимся проводить круги и овалы</a:t>
            </a:r>
          </a:p>
          <a:p>
            <a:r>
              <a:rPr lang="ru-RU" b="1" dirty="0" smtClean="0"/>
              <a:t>Учимся рисовать зигзаги, плавно передвигая руку</a:t>
            </a:r>
          </a:p>
          <a:p>
            <a:r>
              <a:rPr lang="ru-RU" b="1" dirty="0" smtClean="0"/>
              <a:t>Учим буквы, учимся </a:t>
            </a:r>
            <a:r>
              <a:rPr lang="ru-RU" b="1" dirty="0" smtClean="0">
                <a:solidFill>
                  <a:srgbClr val="C00000"/>
                </a:solidFill>
              </a:rPr>
              <a:t>правильно писать письменные букв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39</a:t>
            </a:fld>
            <a:endParaRPr lang="ru-RU"/>
          </a:p>
        </p:txBody>
      </p:sp>
      <p:pic>
        <p:nvPicPr>
          <p:cNvPr id="6146" name="Picture 2" descr="Картинки по запросу учимся сидеть при письме"/>
          <p:cNvPicPr>
            <a:picLocks noChangeAspect="1" noChangeArrowheads="1"/>
          </p:cNvPicPr>
          <p:nvPr/>
        </p:nvPicPr>
        <p:blipFill>
          <a:blip r:embed="rId2"/>
          <a:srcRect l="50579"/>
          <a:stretch>
            <a:fillRect/>
          </a:stretch>
        </p:blipFill>
        <p:spPr bwMode="auto">
          <a:xfrm>
            <a:off x="6616728" y="215856"/>
            <a:ext cx="2401948" cy="240985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b="1" kern="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entury Gothic" pitchFamily="34" charset="0"/>
              </a:rPr>
              <a:t>Система  учебн</a:t>
            </a:r>
            <a:r>
              <a:rPr lang="ru-RU" b="1" kern="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о-методических  комплектов  </a:t>
            </a:r>
            <a:r>
              <a:rPr lang="ru-RU" b="1" kern="0" dirty="0" smtClean="0">
                <a:ln w="11430"/>
                <a:solidFill>
                  <a:schemeClr val="tx1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entury Gothic" pitchFamily="34" charset="0"/>
              </a:rPr>
              <a:t/>
            </a:r>
            <a:br>
              <a:rPr lang="ru-RU" b="1" kern="0" dirty="0" smtClean="0">
                <a:ln w="11430"/>
                <a:solidFill>
                  <a:schemeClr val="tx1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entury Gothic" pitchFamily="34" charset="0"/>
              </a:rPr>
            </a:br>
            <a:endParaRPr lang="ru-RU" b="1" dirty="0">
              <a:ln w="11430"/>
              <a:solidFill>
                <a:schemeClr val="tx1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571612"/>
            <a:ext cx="9001156" cy="5143535"/>
          </a:xfrm>
          <a:ln>
            <a:solidFill>
              <a:schemeClr val="bg1"/>
            </a:solidFill>
          </a:ln>
        </p:spPr>
        <p:txBody>
          <a:bodyPr rtlCol="0">
            <a:normAutofit/>
          </a:bodyPr>
          <a:lstStyle/>
          <a:p>
            <a:pPr>
              <a:buNone/>
              <a:defRPr/>
            </a:pP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                                                                  </a:t>
            </a:r>
            <a:r>
              <a:rPr lang="ru-RU" sz="1800" b="1" dirty="0" smtClean="0"/>
              <a:t>«Тропинки» для детей от 3 до 7 лет</a:t>
            </a:r>
            <a:endParaRPr lang="ru-RU" sz="1800" dirty="0" smtClean="0"/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286E3A-C882-4B9F-916D-884D0567D9C0}" type="slidenum">
              <a:rPr lang="ru-RU"/>
              <a:pPr>
                <a:defRPr/>
              </a:pPr>
              <a:t>4</a:t>
            </a:fld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4105206" y="2214554"/>
            <a:ext cx="503879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latin typeface="+mn-lt"/>
                <a:cs typeface="+mn-cs"/>
              </a:rPr>
              <a:t> </a:t>
            </a:r>
            <a:endParaRPr lang="ru-RU" sz="2000" b="1" dirty="0" smtClean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cs typeface="+mn-cs"/>
              </a:rPr>
              <a:t>«</a:t>
            </a:r>
            <a:r>
              <a:rPr lang="ru-RU" sz="2000" b="1" dirty="0" err="1">
                <a:latin typeface="+mn-lt"/>
                <a:cs typeface="+mn-cs"/>
              </a:rPr>
              <a:t>Предшкольная</a:t>
            </a:r>
            <a:r>
              <a:rPr lang="ru-RU" sz="2000" b="1" dirty="0">
                <a:latin typeface="+mn-lt"/>
                <a:cs typeface="+mn-cs"/>
              </a:rPr>
              <a:t> пора» для детей 5 – 6 лет</a:t>
            </a:r>
            <a:endParaRPr lang="ru-RU" sz="2000" dirty="0">
              <a:latin typeface="+mn-lt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143504" y="3571876"/>
            <a:ext cx="3395662" cy="912825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+mj-lt"/>
                <a:ea typeface="+mj-ea"/>
                <a:cs typeface="+mj-cs"/>
              </a:rPr>
              <a:t>Система УМК </a:t>
            </a:r>
            <a:endParaRPr lang="en-US" sz="2000" b="1" dirty="0">
              <a:latin typeface="+mj-lt"/>
              <a:ea typeface="+mj-ea"/>
              <a:cs typeface="+mj-cs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+mj-lt"/>
                <a:ea typeface="+mj-ea"/>
                <a:cs typeface="+mj-cs"/>
              </a:rPr>
              <a:t>«Начальная школа ХХ</a:t>
            </a:r>
            <a:r>
              <a:rPr lang="en-US" sz="2000" b="1" dirty="0">
                <a:latin typeface="+mj-lt"/>
                <a:ea typeface="+mj-ea"/>
                <a:cs typeface="+mj-cs"/>
              </a:rPr>
              <a:t>I</a:t>
            </a:r>
            <a:r>
              <a:rPr lang="ru-RU" sz="2000" b="1" dirty="0">
                <a:latin typeface="+mj-lt"/>
                <a:ea typeface="+mj-ea"/>
                <a:cs typeface="+mj-cs"/>
              </a:rPr>
              <a:t> века»</a:t>
            </a:r>
          </a:p>
        </p:txBody>
      </p:sp>
      <p:pic>
        <p:nvPicPr>
          <p:cNvPr id="16410" name="Picture 4" descr="C:\Users\terehova.ya\Downloads\Документы\21 век\математика\мат. 1 ч 1 минаева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14348" y="3429000"/>
            <a:ext cx="730208" cy="945774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pic>
        <p:nvPicPr>
          <p:cNvPr id="16411" name="Picture 5" descr="C:\Users\terehova.ya\Downloads\Документы\21 век\русский язык\ря3 ч 2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7488" y="3500438"/>
            <a:ext cx="730260" cy="96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1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57620" y="3500438"/>
            <a:ext cx="740739" cy="9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algn="ctr" rotWithShape="0">
              <a:schemeClr val="bg2"/>
            </a:outerShdw>
          </a:effectLst>
        </p:spPr>
      </p:pic>
      <p:pic>
        <p:nvPicPr>
          <p:cNvPr id="16415" name="Picture 2"/>
          <p:cNvPicPr>
            <a:picLocks noChangeAspect="1" noChangeArrowheads="1"/>
          </p:cNvPicPr>
          <p:nvPr/>
        </p:nvPicPr>
        <p:blipFill>
          <a:blip r:embed="rId5"/>
          <a:srcRect l="1233"/>
          <a:stretch>
            <a:fillRect/>
          </a:stretch>
        </p:blipFill>
        <p:spPr bwMode="auto">
          <a:xfrm>
            <a:off x="0" y="4857760"/>
            <a:ext cx="4312157" cy="1131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Box 34"/>
          <p:cNvSpPr txBox="1"/>
          <p:nvPr/>
        </p:nvSpPr>
        <p:spPr>
          <a:xfrm>
            <a:off x="4572000" y="4572008"/>
            <a:ext cx="950914" cy="949350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j-lt"/>
                <a:ea typeface="+mj-ea"/>
                <a:cs typeface="+mj-cs"/>
              </a:rPr>
              <a:t>Система </a:t>
            </a:r>
            <a:r>
              <a:rPr lang="ru-RU" sz="2000" b="1" dirty="0">
                <a:latin typeface="+mj-lt"/>
                <a:ea typeface="+mj-ea"/>
                <a:cs typeface="+mj-cs"/>
              </a:rPr>
              <a:t>УМК « Планета знаний»</a:t>
            </a:r>
          </a:p>
        </p:txBody>
      </p:sp>
      <p:pic>
        <p:nvPicPr>
          <p:cNvPr id="16417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566066" y="5437215"/>
            <a:ext cx="1209675" cy="89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36"/>
          <p:cNvSpPr txBox="1"/>
          <p:nvPr/>
        </p:nvSpPr>
        <p:spPr>
          <a:xfrm>
            <a:off x="4937125" y="5619750"/>
            <a:ext cx="768350" cy="511175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b="1" dirty="0">
                <a:latin typeface="+mj-lt"/>
                <a:ea typeface="+mj-ea"/>
                <a:cs typeface="+mj-cs"/>
              </a:rPr>
              <a:t>Система УМК « Ритм»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7" cstate="print"/>
          <a:srcRect l="13212" t="12978" r="40965" b="12802"/>
          <a:stretch>
            <a:fillRect/>
          </a:stretch>
        </p:blipFill>
        <p:spPr bwMode="auto">
          <a:xfrm>
            <a:off x="1714480" y="3429000"/>
            <a:ext cx="730260" cy="946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9" name="Picture 3" descr="C:\Users\terehova.ya\Downloads\Документы\21 век\математика\мат. 2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85984" y="3857628"/>
            <a:ext cx="785818" cy="1021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 descr="C:\Users\terehova.ya\Downloads\Документы\21 век\обучение грамоте\букварь 2 ч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4282" y="3857628"/>
            <a:ext cx="738135" cy="992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0" cstate="print"/>
          <a:srcRect l="26120" t="17011" r="26766" b="7155"/>
          <a:stretch>
            <a:fillRect/>
          </a:stretch>
        </p:blipFill>
        <p:spPr bwMode="auto">
          <a:xfrm>
            <a:off x="1214414" y="3857628"/>
            <a:ext cx="765608" cy="985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11" cstate="print"/>
          <a:srcRect l="26766" t="17011" r="26120" b="7154"/>
          <a:stretch>
            <a:fillRect/>
          </a:stretch>
        </p:blipFill>
        <p:spPr bwMode="auto">
          <a:xfrm>
            <a:off x="3286116" y="3857628"/>
            <a:ext cx="720938" cy="92833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571604" y="2071678"/>
            <a:ext cx="1357322" cy="1215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 descr="\\parovoz\all_reklama\Znaki\Trop_znak_cover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286116" y="1428736"/>
            <a:ext cx="774700" cy="117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3465" y="116631"/>
            <a:ext cx="8653581" cy="1523231"/>
          </a:xfrm>
        </p:spPr>
        <p:txBody>
          <a:bodyPr/>
          <a:lstStyle/>
          <a:p>
            <a:r>
              <a:rPr lang="ru-RU" sz="2400" b="1" dirty="0" smtClean="0">
                <a:solidFill>
                  <a:schemeClr val="tx1"/>
                </a:solidFill>
              </a:rPr>
              <a:t>Дифференцированная работа при обучении чтению и письму</a:t>
            </a:r>
            <a:r>
              <a:rPr lang="ru-RU" sz="2400" dirty="0" smtClean="0">
                <a:solidFill>
                  <a:schemeClr val="tx1"/>
                </a:solidFill>
              </a:rPr>
              <a:t/>
            </a:r>
            <a:br>
              <a:rPr lang="ru-RU" sz="2400" dirty="0" smtClean="0">
                <a:solidFill>
                  <a:schemeClr val="tx1"/>
                </a:solidFill>
              </a:rPr>
            </a:b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40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 l="12567" t="17818" r="29347" b="8768"/>
          <a:stretch>
            <a:fillRect/>
          </a:stretch>
        </p:blipFill>
        <p:spPr bwMode="auto">
          <a:xfrm>
            <a:off x="4937130" y="1238220"/>
            <a:ext cx="3687813" cy="452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7" name="Схема 6"/>
          <p:cNvGraphicFramePr/>
          <p:nvPr/>
        </p:nvGraphicFramePr>
        <p:xfrm>
          <a:off x="884187" y="1397000"/>
          <a:ext cx="4089456" cy="4953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28" name="Picture 4" descr="Картинки по запросу дети с высоким уровнем готовности к школе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68394" y="1785915"/>
            <a:ext cx="2592423" cy="172828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3927" y="142830"/>
            <a:ext cx="8763120" cy="1143000"/>
          </a:xfrm>
        </p:spPr>
        <p:txBody>
          <a:bodyPr/>
          <a:lstStyle/>
          <a:p>
            <a:r>
              <a:rPr lang="ru-RU" sz="2400" b="1" dirty="0" smtClean="0">
                <a:solidFill>
                  <a:schemeClr val="tx1"/>
                </a:solidFill>
              </a:rPr>
              <a:t>Дифференцированная работа при обучении чтению и письму</a:t>
            </a:r>
            <a:r>
              <a:rPr lang="ru-RU" sz="2400" dirty="0" smtClean="0">
                <a:solidFill>
                  <a:schemeClr val="tx1"/>
                </a:solidFill>
              </a:rPr>
              <a:t/>
            </a:r>
            <a:br>
              <a:rPr lang="ru-RU" sz="2400" dirty="0" smtClean="0">
                <a:solidFill>
                  <a:schemeClr val="tx1"/>
                </a:solidFill>
              </a:rPr>
            </a:b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41</a:t>
            </a:fld>
            <a:endParaRPr lang="ru-RU"/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2746351" y="1639864"/>
            <a:ext cx="4527612" cy="1533546"/>
          </a:xfrm>
        </p:spPr>
        <p:txBody>
          <a:bodyPr/>
          <a:lstStyle/>
          <a:p>
            <a:r>
              <a:rPr lang="ru-RU" sz="1800" dirty="0" smtClean="0"/>
              <a:t>Этим детям легче справиться с заданием, </a:t>
            </a:r>
          </a:p>
          <a:p>
            <a:pPr>
              <a:buNone/>
            </a:pPr>
            <a:r>
              <a:rPr lang="ru-RU" sz="1800" dirty="0" smtClean="0"/>
              <a:t>       если оно выполняется фронтально, </a:t>
            </a:r>
          </a:p>
          <a:p>
            <a:pPr>
              <a:buNone/>
            </a:pPr>
            <a:r>
              <a:rPr lang="ru-RU" sz="1800" dirty="0" smtClean="0"/>
              <a:t>       всем классом, вслух.</a:t>
            </a:r>
            <a:endParaRPr lang="ru-RU" sz="1800" dirty="0"/>
          </a:p>
        </p:txBody>
      </p:sp>
      <p:pic>
        <p:nvPicPr>
          <p:cNvPr id="2052" name="Picture 4" descr="Картинки по запросу дети с низким уровнем готовности к школе"/>
          <p:cNvPicPr>
            <a:picLocks noChangeAspect="1" noChangeArrowheads="1"/>
          </p:cNvPicPr>
          <p:nvPr/>
        </p:nvPicPr>
        <p:blipFill>
          <a:blip r:embed="rId2"/>
          <a:srcRect r="9915" b="15666"/>
          <a:stretch>
            <a:fillRect/>
          </a:stretch>
        </p:blipFill>
        <p:spPr bwMode="auto">
          <a:xfrm>
            <a:off x="190440" y="1712889"/>
            <a:ext cx="2457159" cy="2300319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2928915" y="3721104"/>
            <a:ext cx="39799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600" dirty="0" smtClean="0"/>
              <a:t> Очень важно увеличить</a:t>
            </a:r>
          </a:p>
          <a:p>
            <a:r>
              <a:rPr lang="ru-RU" sz="1600" dirty="0" smtClean="0"/>
              <a:t>  количество упражнений, </a:t>
            </a:r>
          </a:p>
          <a:p>
            <a:r>
              <a:rPr lang="ru-RU" sz="1600" dirty="0" smtClean="0"/>
              <a:t>  предлагаемых этим учащимся </a:t>
            </a:r>
          </a:p>
          <a:p>
            <a:r>
              <a:rPr lang="ru-RU" sz="1600" dirty="0" smtClean="0"/>
              <a:t> для успешной автоматизации навыка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153927" y="4013208"/>
            <a:ext cx="2200230" cy="803286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Дети с низким уровнем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готовности к обучению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27411" t="18625" r="27411" b="7155"/>
          <a:stretch>
            <a:fillRect/>
          </a:stretch>
        </p:blipFill>
        <p:spPr bwMode="auto">
          <a:xfrm>
            <a:off x="7054884" y="1749402"/>
            <a:ext cx="1889151" cy="2482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114300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</a:rPr>
              <a:t>При работе с детьми с низким уровнем готовности к школе необходимо постоянно привлекать их внимание к артикуляции выделяемых звуков.</a:t>
            </a:r>
            <a:endParaRPr lang="ru-RU" sz="1800" b="1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42</a:t>
            </a:fld>
            <a:endParaRPr lang="ru-RU"/>
          </a:p>
        </p:txBody>
      </p:sp>
      <p:pic>
        <p:nvPicPr>
          <p:cNvPr id="471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5475" t="8944" r="24830" b="12802"/>
          <a:stretch>
            <a:fillRect/>
          </a:stretch>
        </p:blipFill>
        <p:spPr bwMode="auto">
          <a:xfrm>
            <a:off x="5010156" y="1165194"/>
            <a:ext cx="3767991" cy="474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/>
          <a:srcRect l="6758" t="21852" r="7404" b="12802"/>
          <a:stretch>
            <a:fillRect/>
          </a:stretch>
        </p:blipFill>
        <p:spPr bwMode="auto">
          <a:xfrm>
            <a:off x="0" y="1145737"/>
            <a:ext cx="5010156" cy="4620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-1"/>
            <a:ext cx="9144000" cy="6386553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endParaRPr lang="ru-RU" sz="1400" b="1" dirty="0" smtClean="0"/>
          </a:p>
          <a:p>
            <a:pPr algn="ctr">
              <a:buNone/>
            </a:pPr>
            <a:r>
              <a:rPr lang="ru-RU" sz="1600" b="1" u="sng" dirty="0" smtClean="0"/>
              <a:t>Правила и необходимая последовательность работы:</a:t>
            </a:r>
          </a:p>
          <a:p>
            <a:pPr algn="ctr">
              <a:buNone/>
            </a:pPr>
            <a:endParaRPr lang="ru-RU" sz="1600" b="1" u="sng" dirty="0" smtClean="0"/>
          </a:p>
          <a:p>
            <a:pPr>
              <a:buAutoNum type="arabicPeriod"/>
            </a:pPr>
            <a:r>
              <a:rPr lang="ru-RU" sz="1400" dirty="0" smtClean="0"/>
              <a:t>При объяснении обязательно зафиксируйте внимание ребят на том, в какой точке </a:t>
            </a:r>
            <a:r>
              <a:rPr lang="ru-RU" sz="1400" dirty="0" smtClean="0">
                <a:solidFill>
                  <a:srgbClr val="FF0000"/>
                </a:solidFill>
              </a:rPr>
              <a:t>начинается</a:t>
            </a:r>
            <a:r>
              <a:rPr lang="ru-RU" sz="1400" dirty="0" smtClean="0"/>
              <a:t> движение, каково </a:t>
            </a:r>
            <a:r>
              <a:rPr lang="ru-RU" sz="1400" dirty="0" smtClean="0">
                <a:solidFill>
                  <a:srgbClr val="FF0000"/>
                </a:solidFill>
              </a:rPr>
              <a:t>направление </a:t>
            </a:r>
            <a:r>
              <a:rPr lang="ru-RU" sz="1400" dirty="0" smtClean="0"/>
              <a:t> движения, где происходит </a:t>
            </a:r>
            <a:r>
              <a:rPr lang="ru-RU" sz="1400" dirty="0" smtClean="0">
                <a:solidFill>
                  <a:srgbClr val="FF0000"/>
                </a:solidFill>
              </a:rPr>
              <a:t>изменение</a:t>
            </a:r>
            <a:r>
              <a:rPr lang="ru-RU" sz="1400" dirty="0" smtClean="0"/>
              <a:t> траектории движения, где </a:t>
            </a:r>
            <a:r>
              <a:rPr lang="ru-RU" sz="1400" dirty="0" smtClean="0">
                <a:solidFill>
                  <a:srgbClr val="FF0000"/>
                </a:solidFill>
              </a:rPr>
              <a:t>заканчивается</a:t>
            </a:r>
            <a:r>
              <a:rPr lang="ru-RU" sz="1400" dirty="0" smtClean="0"/>
              <a:t> движение.</a:t>
            </a:r>
          </a:p>
          <a:p>
            <a:pPr>
              <a:buNone/>
            </a:pPr>
            <a:r>
              <a:rPr lang="ru-RU" sz="1400" dirty="0" smtClean="0"/>
              <a:t>2.    В Вашем объяснении </a:t>
            </a:r>
            <a:r>
              <a:rPr lang="ru-RU" sz="1400" dirty="0" smtClean="0">
                <a:solidFill>
                  <a:srgbClr val="FF0000"/>
                </a:solidFill>
              </a:rPr>
              <a:t>не должно быть </a:t>
            </a:r>
            <a:r>
              <a:rPr lang="ru-RU" sz="1400" dirty="0" smtClean="0"/>
              <a:t>ни одного не понятного и незнакомого слова. </a:t>
            </a:r>
          </a:p>
          <a:p>
            <a:pPr>
              <a:buNone/>
            </a:pPr>
            <a:r>
              <a:rPr lang="ru-RU" sz="1400" dirty="0" smtClean="0"/>
              <a:t>       Постарайтесь не использовать слова, не имеющие чётких значений, типа — «чуть-чуть отступите», «немного не доводя». </a:t>
            </a:r>
          </a:p>
          <a:p>
            <a:pPr>
              <a:buNone/>
            </a:pPr>
            <a:r>
              <a:rPr lang="ru-RU" sz="1400" dirty="0" smtClean="0"/>
              <a:t>    </a:t>
            </a:r>
            <a:r>
              <a:rPr lang="ru-RU" sz="1200" i="1" dirty="0" smtClean="0"/>
              <a:t>В тех случаях, когда это необходимо, предварительно объясните, что означают эти команды</a:t>
            </a:r>
            <a:r>
              <a:rPr lang="ru-RU" sz="1400" dirty="0" smtClean="0"/>
              <a:t>.</a:t>
            </a:r>
          </a:p>
          <a:p>
            <a:pPr>
              <a:buNone/>
            </a:pPr>
            <a:r>
              <a:rPr lang="ru-RU" sz="1400" dirty="0" smtClean="0"/>
              <a:t>3. Кроме словесного объяснения, для ребят необходим выполненный Вами </a:t>
            </a:r>
            <a:r>
              <a:rPr lang="ru-RU" sz="1400" dirty="0" smtClean="0">
                <a:solidFill>
                  <a:srgbClr val="FF0000"/>
                </a:solidFill>
              </a:rPr>
              <a:t>показ движения</a:t>
            </a:r>
            <a:r>
              <a:rPr lang="ru-RU" sz="1400" dirty="0" smtClean="0"/>
              <a:t>.</a:t>
            </a:r>
          </a:p>
          <a:p>
            <a:pPr>
              <a:buNone/>
            </a:pPr>
            <a:r>
              <a:rPr lang="ru-RU" sz="1400" dirty="0" smtClean="0"/>
              <a:t>4. После объяснения и показа важно попросить детей «продиктовать» Вам «что и как делать», при этом постарайтесь </a:t>
            </a:r>
            <a:r>
              <a:rPr lang="ru-RU" sz="1400" dirty="0" smtClean="0">
                <a:solidFill>
                  <a:srgbClr val="FF0000"/>
                </a:solidFill>
              </a:rPr>
              <a:t>точно  выполнить их «указания». </a:t>
            </a:r>
          </a:p>
          <a:p>
            <a:pPr>
              <a:buNone/>
            </a:pPr>
            <a:r>
              <a:rPr lang="ru-RU" sz="1200" i="1" dirty="0" smtClean="0"/>
              <a:t>Это поможет обратить внимание на ошибки, не точности в инструкции и во время их устранить,  т. е. точно уяснить инструкцию.</a:t>
            </a:r>
          </a:p>
          <a:p>
            <a:pPr>
              <a:buNone/>
            </a:pPr>
            <a:r>
              <a:rPr lang="ru-RU" sz="1400" dirty="0" smtClean="0"/>
              <a:t>5. Следующий этап — </a:t>
            </a:r>
            <a:r>
              <a:rPr lang="ru-RU" sz="1400" dirty="0" smtClean="0">
                <a:solidFill>
                  <a:srgbClr val="FF0000"/>
                </a:solidFill>
              </a:rPr>
              <a:t>замедленное </a:t>
            </a:r>
            <a:r>
              <a:rPr lang="ru-RU" sz="1400" dirty="0" smtClean="0"/>
              <a:t>выполнение движения под Вашу диктовку.</a:t>
            </a:r>
          </a:p>
          <a:p>
            <a:pPr>
              <a:buNone/>
            </a:pPr>
            <a:r>
              <a:rPr lang="ru-RU" sz="1400" dirty="0" smtClean="0"/>
              <a:t>6. После окончания выполнения действия важно подробно </a:t>
            </a:r>
            <a:r>
              <a:rPr lang="ru-RU" sz="1400" dirty="0" smtClean="0">
                <a:solidFill>
                  <a:srgbClr val="FF0000"/>
                </a:solidFill>
              </a:rPr>
              <a:t>разобрать</a:t>
            </a:r>
            <a:r>
              <a:rPr lang="ru-RU" sz="1400" dirty="0" smtClean="0"/>
              <a:t>, всё ли сделано правильно.</a:t>
            </a:r>
          </a:p>
          <a:p>
            <a:pPr>
              <a:buNone/>
            </a:pPr>
            <a:r>
              <a:rPr lang="ru-RU" sz="1400" dirty="0" smtClean="0"/>
              <a:t>7. Очень важный этап — </a:t>
            </a:r>
            <a:r>
              <a:rPr lang="ru-RU" sz="1400" dirty="0" smtClean="0">
                <a:solidFill>
                  <a:srgbClr val="FF0000"/>
                </a:solidFill>
              </a:rPr>
              <a:t>повторение</a:t>
            </a:r>
            <a:r>
              <a:rPr lang="ru-RU" sz="1400" dirty="0" smtClean="0"/>
              <a:t> словесной инструкции детьми.</a:t>
            </a:r>
          </a:p>
          <a:p>
            <a:pPr>
              <a:buNone/>
            </a:pPr>
            <a:r>
              <a:rPr lang="ru-RU" sz="1400" dirty="0" smtClean="0"/>
              <a:t>8. </a:t>
            </a:r>
            <a:r>
              <a:rPr lang="ru-RU" sz="1400" dirty="0" smtClean="0">
                <a:solidFill>
                  <a:srgbClr val="FF0000"/>
                </a:solidFill>
              </a:rPr>
              <a:t>Самостоятельное</a:t>
            </a:r>
            <a:r>
              <a:rPr lang="ru-RU" sz="1400" dirty="0" smtClean="0"/>
              <a:t> выполнение действия. </a:t>
            </a:r>
          </a:p>
          <a:p>
            <a:pPr>
              <a:buNone/>
            </a:pPr>
            <a:r>
              <a:rPr lang="ru-RU" sz="1200" i="1" dirty="0" smtClean="0"/>
              <a:t>Действие выполняется под Вашим контролем, но при условии самостоятельной оценки детьми правильности собственного написания. В процессе обучения важно постоянно подкреплять правильное выполнение  каждого элемента — «это хорошо», «это правильно», «молодец, это очень хорошо получилось» — этим Вы не только фиксируете внимание ребёнка на том, что сделано хорошо, но и не подчёркиваете неверное, неправильное. </a:t>
            </a:r>
            <a:r>
              <a:rPr lang="ru-RU" sz="1200" b="1" i="1" dirty="0" smtClean="0"/>
              <a:t>Пожалуйста, избегайте общих отрицательных оценок.</a:t>
            </a:r>
          </a:p>
          <a:p>
            <a:pPr>
              <a:buNone/>
            </a:pPr>
            <a:r>
              <a:rPr lang="ru-RU" sz="1200" i="1" dirty="0" smtClean="0"/>
              <a:t>При изучении букв </a:t>
            </a:r>
            <a:r>
              <a:rPr lang="ru-RU" sz="1200" b="1" i="1" dirty="0" smtClean="0"/>
              <a:t>я, ё, </a:t>
            </a:r>
            <a:r>
              <a:rPr lang="ru-RU" sz="1200" b="1" i="1" dirty="0" err="1" smtClean="0"/>
              <a:t>ю</a:t>
            </a:r>
            <a:r>
              <a:rPr lang="ru-RU" sz="1200" b="1" i="1" dirty="0" smtClean="0"/>
              <a:t>, е </a:t>
            </a:r>
            <a:r>
              <a:rPr lang="ru-RU" sz="1200" i="1" dirty="0" smtClean="0"/>
              <a:t>внимание детей привлекается к двум функциям этих букв: обозначение мягкости согласного звука + обозначение гласного звука и обозначение согласного звука [</a:t>
            </a:r>
            <a:r>
              <a:rPr lang="ru-RU" sz="1200" i="1" dirty="0" err="1" smtClean="0"/>
              <a:t>й</a:t>
            </a:r>
            <a:r>
              <a:rPr lang="ru-RU" sz="1200" i="1" dirty="0" smtClean="0"/>
              <a:t>’] + обозначение гласно го звука.</a:t>
            </a:r>
          </a:p>
          <a:p>
            <a:pPr>
              <a:buNone/>
            </a:pPr>
            <a:r>
              <a:rPr lang="ru-RU" sz="1200" i="1" dirty="0" smtClean="0"/>
              <a:t>Конфигурация некоторых букв в прописях упрощена. В основе этих упрощений лежит переход к более лёгким (с точки зрения физиологии) способам написания буквы и к более целесообразным психофизиологическим механизмам формирования единого зрительно-двигательного образа букв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43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1" name="Shape 246"/>
          <p:cNvSpPr>
            <a:spLocks noGrp="1"/>
          </p:cNvSpPr>
          <p:nvPr>
            <p:ph type="title" idx="4294967295"/>
          </p:nvPr>
        </p:nvSpPr>
        <p:spPr>
          <a:xfrm>
            <a:off x="0" y="188913"/>
            <a:ext cx="9143999" cy="1079847"/>
          </a:xfrm>
        </p:spPr>
        <p:txBody>
          <a:bodyPr lIns="91425" tIns="45700" rIns="91425" bIns="45700">
            <a:normAutofit fontScale="90000"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ru-RU" sz="2800" b="1" dirty="0" smtClean="0">
                <a:sym typeface="Calibri" pitchFamily="34" charset="0"/>
              </a:rPr>
              <a:t/>
            </a:r>
            <a:br>
              <a:rPr lang="ru-RU" sz="2800" b="1" dirty="0" smtClean="0">
                <a:sym typeface="Calibri" pitchFamily="34" charset="0"/>
              </a:rPr>
            </a:br>
            <a:r>
              <a:rPr lang="ru-RU" sz="2800" b="1" dirty="0" smtClean="0">
                <a:sym typeface="Calibri" pitchFamily="34" charset="0"/>
              </a:rPr>
              <a:t/>
            </a:r>
            <a:br>
              <a:rPr lang="ru-RU" sz="2800" b="1" dirty="0" smtClean="0">
                <a:sym typeface="Calibri" pitchFamily="34" charset="0"/>
              </a:rPr>
            </a:br>
            <a:r>
              <a:rPr lang="ru-RU" sz="2800" b="1" dirty="0" smtClean="0">
                <a:sym typeface="Calibri" pitchFamily="34" charset="0"/>
              </a:rPr>
              <a:t> </a:t>
            </a:r>
            <a:r>
              <a:rPr lang="ru-RU" sz="2800" b="1" dirty="0" smtClean="0">
                <a:solidFill>
                  <a:srgbClr val="FF0000"/>
                </a:solidFill>
              </a:rPr>
              <a:t>Комплексная научно-методическая поддержка и сопровождение педагогов на сайте</a:t>
            </a:r>
            <a:br>
              <a:rPr lang="ru-RU" sz="2800" b="1" dirty="0" smtClean="0">
                <a:solidFill>
                  <a:srgbClr val="FF0000"/>
                </a:solidFill>
              </a:rPr>
            </a:br>
            <a:r>
              <a:rPr lang="en-US" sz="2800" b="1" dirty="0" smtClean="0">
                <a:sym typeface="Calibri" pitchFamily="34" charset="0"/>
              </a:rPr>
              <a:t> http://drofa-ventana.ru/ </a:t>
            </a:r>
            <a:r>
              <a:rPr lang="ru-RU" sz="2800" b="1" dirty="0" smtClean="0">
                <a:solidFill>
                  <a:srgbClr val="FF0000"/>
                </a:solidFill>
              </a:rPr>
              <a:t/>
            </a:r>
            <a:br>
              <a:rPr lang="ru-RU" sz="2800" b="1" dirty="0" smtClean="0">
                <a:solidFill>
                  <a:srgbClr val="FF0000"/>
                </a:solidFill>
              </a:rPr>
            </a:br>
            <a:endParaRPr lang="en-US" sz="5400" b="1" dirty="0" smtClean="0">
              <a:sym typeface="Calibri" pitchFamily="34" charset="0"/>
            </a:endParaRPr>
          </a:p>
        </p:txBody>
      </p:sp>
      <p:sp>
        <p:nvSpPr>
          <p:cNvPr id="307202" name="Shape 247"/>
          <p:cNvSpPr txBox="1">
            <a:spLocks noChangeArrowheads="1"/>
          </p:cNvSpPr>
          <p:nvPr/>
        </p:nvSpPr>
        <p:spPr bwMode="auto">
          <a:xfrm>
            <a:off x="5580112" y="1412776"/>
            <a:ext cx="3419872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5" tIns="45700" rIns="91425" bIns="45700"/>
          <a:lstStyle/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Подключайтесь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к </a:t>
            </a:r>
            <a:r>
              <a:rPr lang="ru-RU" sz="1800" i="0" dirty="0" err="1">
                <a:solidFill>
                  <a:srgbClr val="0070C0"/>
                </a:solidFill>
                <a:sym typeface="Arial" charset="0"/>
              </a:rPr>
              <a:t>вебинарам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 авторов 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учебников, пособий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, методистов и учителей-практиков</a:t>
            </a:r>
          </a:p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Делитесь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своим опытом и изучайте опыт коллег на открытых уроках</a:t>
            </a:r>
          </a:p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Скачивайте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методические материалы и рабочие программы</a:t>
            </a:r>
          </a:p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Читайте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интервью с авторами и рекомендации по работе с учебниками</a:t>
            </a:r>
          </a:p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Узнавайте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состав УМК</a:t>
            </a:r>
          </a:p>
          <a:p>
            <a:pPr algn="just">
              <a:spcBef>
                <a:spcPts val="600"/>
              </a:spcBef>
              <a:buFont typeface="Arial" charset="0"/>
              <a:buChar char="•"/>
            </a:pP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 smtClean="0">
                <a:solidFill>
                  <a:srgbClr val="FF0000"/>
                </a:solidFill>
                <a:sym typeface="Arial" charset="0"/>
              </a:rPr>
              <a:t>Участвуйте</a:t>
            </a:r>
            <a:r>
              <a:rPr lang="ru-RU" sz="1800" i="0" dirty="0" smtClean="0">
                <a:solidFill>
                  <a:srgbClr val="0070C0"/>
                </a:solidFill>
                <a:sym typeface="Arial" charset="0"/>
              </a:rPr>
              <a:t> </a:t>
            </a:r>
            <a:r>
              <a:rPr lang="ru-RU" sz="1800" i="0" dirty="0">
                <a:solidFill>
                  <a:srgbClr val="0070C0"/>
                </a:solidFill>
                <a:sym typeface="Arial" charset="0"/>
              </a:rPr>
              <a:t>в акциях, конкурсах</a:t>
            </a:r>
          </a:p>
        </p:txBody>
      </p:sp>
      <p:pic>
        <p:nvPicPr>
          <p:cNvPr id="307204" name="Изображение 1" descr="index menu newfuter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9765" y="1412776"/>
            <a:ext cx="5589877" cy="4896544"/>
          </a:xfrm>
          <a:prstGeom prst="rect">
            <a:avLst/>
          </a:prstGeom>
          <a:noFill/>
          <a:ln w="9525">
            <a:solidFill>
              <a:srgbClr val="D9D9D9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1" name="Shape 246"/>
          <p:cNvSpPr>
            <a:spLocks noGrp="1"/>
          </p:cNvSpPr>
          <p:nvPr>
            <p:ph type="title" idx="4294967295"/>
          </p:nvPr>
        </p:nvSpPr>
        <p:spPr>
          <a:xfrm>
            <a:off x="1" y="332656"/>
            <a:ext cx="9143999" cy="575791"/>
          </a:xfrm>
        </p:spPr>
        <p:txBody>
          <a:bodyPr lIns="91425" tIns="45700" rIns="91425" bIns="45700">
            <a:normAutofit fontScale="90000"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ru-RU" sz="2800" b="1" dirty="0" smtClean="0">
                <a:sym typeface="Calibri" pitchFamily="34" charset="0"/>
              </a:rPr>
              <a:t/>
            </a:r>
            <a:br>
              <a:rPr lang="ru-RU" sz="2800" b="1" dirty="0" smtClean="0">
                <a:sym typeface="Calibri" pitchFamily="34" charset="0"/>
              </a:rPr>
            </a:br>
            <a:r>
              <a:rPr lang="ru-RU" sz="2800" b="1" dirty="0" smtClean="0">
                <a:sym typeface="Calibri" pitchFamily="34" charset="0"/>
              </a:rPr>
              <a:t/>
            </a:r>
            <a:br>
              <a:rPr lang="ru-RU" sz="2800" b="1" dirty="0" smtClean="0">
                <a:sym typeface="Calibri" pitchFamily="34" charset="0"/>
              </a:rPr>
            </a:br>
            <a:r>
              <a:rPr lang="ru-RU" sz="2800" b="1" dirty="0" smtClean="0">
                <a:sym typeface="Calibri" pitchFamily="34" charset="0"/>
              </a:rPr>
              <a:t> </a:t>
            </a:r>
            <a:r>
              <a:rPr lang="ru-RU" sz="2800" b="1" dirty="0" smtClean="0">
                <a:solidFill>
                  <a:srgbClr val="FF0000"/>
                </a:solidFill>
              </a:rPr>
              <a:t>Современный цифровой </a:t>
            </a:r>
            <a:r>
              <a:rPr lang="ru-RU" sz="2800" b="1" dirty="0" err="1" smtClean="0">
                <a:solidFill>
                  <a:srgbClr val="FF0000"/>
                </a:solidFill>
              </a:rPr>
              <a:t>контент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en-US" sz="2800" b="1" dirty="0" smtClean="0">
                <a:sym typeface="Calibri" pitchFamily="34" charset="0"/>
              </a:rPr>
              <a:t> https://lecta.ru/</a:t>
            </a:r>
            <a:r>
              <a:rPr lang="ru-RU" sz="2800" b="1" dirty="0" smtClean="0">
                <a:solidFill>
                  <a:srgbClr val="FF0000"/>
                </a:solidFill>
              </a:rPr>
              <a:t/>
            </a:r>
            <a:br>
              <a:rPr lang="ru-RU" sz="2800" b="1" dirty="0" smtClean="0">
                <a:solidFill>
                  <a:srgbClr val="FF0000"/>
                </a:solidFill>
              </a:rPr>
            </a:br>
            <a:endParaRPr lang="en-US" sz="5400" b="1" dirty="0" smtClean="0">
              <a:sym typeface="Calibri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59632" y="1052736"/>
            <a:ext cx="6264696" cy="524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300788" y="6092825"/>
            <a:ext cx="2133600" cy="476250"/>
          </a:xfrm>
        </p:spPr>
        <p:txBody>
          <a:bodyPr/>
          <a:lstStyle/>
          <a:p>
            <a:pPr>
              <a:defRPr/>
            </a:pPr>
            <a:fld id="{B1101B72-E9BA-49AB-93C0-1785EB32F5C6}" type="slidenum">
              <a:rPr lang="ru-RU"/>
              <a:pPr>
                <a:defRPr/>
              </a:pPr>
              <a:t>5</a:t>
            </a:fld>
            <a:endParaRPr lang="ru-RU"/>
          </a:p>
        </p:txBody>
      </p:sp>
      <p:sp>
        <p:nvSpPr>
          <p:cNvPr id="17411" name="Rectangle 2"/>
          <p:cNvSpPr>
            <a:spLocks noGrp="1" noChangeArrowheads="1"/>
          </p:cNvSpPr>
          <p:nvPr>
            <p:ph type="body" sz="half" idx="2"/>
          </p:nvPr>
        </p:nvSpPr>
        <p:spPr>
          <a:xfrm>
            <a:off x="0" y="4357694"/>
            <a:ext cx="3492500" cy="1331912"/>
          </a:xfrm>
        </p:spPr>
        <p:txBody>
          <a:bodyPr/>
          <a:lstStyle/>
          <a:p>
            <a:pPr algn="ctr" eaLnBrk="1" hangingPunct="1">
              <a:lnSpc>
                <a:spcPct val="90000"/>
              </a:lnSpc>
              <a:buFont typeface="Arial" charset="0"/>
              <a:buNone/>
            </a:pPr>
            <a:r>
              <a:rPr lang="ru-RU" sz="1400" dirty="0" smtClean="0"/>
              <a:t>Разработана  коллективом авторов Центра начальной школы  ИСМО РАО под руководством   доктора педагогических наук, профессора, члена-корреспондента РАО 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ru-RU" sz="1400" dirty="0" smtClean="0"/>
              <a:t>  </a:t>
            </a:r>
            <a:r>
              <a:rPr lang="ru-RU" sz="1400" b="1" dirty="0" smtClean="0"/>
              <a:t>Натальи Федоровны Виноградовой.</a:t>
            </a:r>
          </a:p>
        </p:txBody>
      </p:sp>
      <p:pic>
        <p:nvPicPr>
          <p:cNvPr id="8196" name="Picture 3" descr="vinograd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785786" y="1571612"/>
            <a:ext cx="1928826" cy="2669910"/>
          </a:xfr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384550" y="1643050"/>
            <a:ext cx="3600450" cy="502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kern="0" dirty="0">
                <a:latin typeface="+mn-lt"/>
                <a:cs typeface="+mn-cs"/>
              </a:rPr>
              <a:t>Включена в Федеральный перечень учебников , учебно-методических и методических изданий, имеет гриф «Рекомендовано» Министерства образования  Российской Федерации</a:t>
            </a:r>
            <a:endParaRPr lang="en-US" kern="0" dirty="0">
              <a:latin typeface="+mn-lt"/>
              <a:cs typeface="+mn-cs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endParaRPr lang="ru-RU" kern="0" dirty="0">
              <a:latin typeface="+mn-lt"/>
              <a:cs typeface="+mn-cs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kern="0" dirty="0">
                <a:latin typeface="+mn-lt"/>
                <a:cs typeface="+mn-cs"/>
              </a:rPr>
              <a:t>Удостоена  премии Президента Российской Федерации в области образования</a:t>
            </a:r>
            <a:endParaRPr lang="en-US" kern="0" dirty="0">
              <a:latin typeface="+mn-lt"/>
              <a:cs typeface="+mn-cs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endParaRPr lang="ru-RU" kern="0" dirty="0">
              <a:latin typeface="+mn-lt"/>
              <a:cs typeface="+mn-cs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kern="0" dirty="0">
                <a:latin typeface="+mn-lt"/>
                <a:cs typeface="+mn-cs"/>
              </a:rPr>
              <a:t>Победитель конкурса по созданию учебников нового поколения, проводимого Министерством образования Российской Федерации и Национальным фондом подготовки кадров.</a:t>
            </a:r>
          </a:p>
        </p:txBody>
      </p:sp>
      <p:pic>
        <p:nvPicPr>
          <p:cNvPr id="9" name="Picture 4" descr="clip_image002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253288" y="1992313"/>
            <a:ext cx="1489075" cy="21209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7367588" y="5265738"/>
            <a:ext cx="914400" cy="914400"/>
          </a:xfrm>
          <a:prstGeom prst="rect">
            <a:avLst/>
          </a:prstGeom>
        </p:spPr>
        <p:txBody>
          <a:bodyPr wrap="none" anchor="b">
            <a:normAutofit/>
          </a:bodyPr>
          <a:lstStyle/>
          <a:p>
            <a:pPr fontAlgn="auto">
              <a:spcAft>
                <a:spcPts val="0"/>
              </a:spcAft>
              <a:defRPr/>
            </a:pPr>
            <a:endParaRPr lang="ru-RU" sz="20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75463" y="4616450"/>
            <a:ext cx="2125662" cy="18589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r>
              <a:rPr lang="ru-RU" sz="1400" kern="0" dirty="0">
                <a:latin typeface="+mn-lt"/>
                <a:cs typeface="+mn-cs"/>
              </a:rPr>
              <a:t>Обладатель книжного  Оскара в номинации «Учебники ХХ</a:t>
            </a:r>
            <a:r>
              <a:rPr lang="en-US" sz="1400" kern="0" dirty="0">
                <a:latin typeface="+mn-lt"/>
                <a:cs typeface="+mn-cs"/>
              </a:rPr>
              <a:t>I</a:t>
            </a:r>
            <a:r>
              <a:rPr lang="ru-RU" sz="1400" kern="0" dirty="0">
                <a:latin typeface="+mn-lt"/>
                <a:cs typeface="+mn-cs"/>
              </a:rPr>
              <a:t> века» </a:t>
            </a:r>
            <a:r>
              <a:rPr lang="en-US" sz="1400" kern="0" dirty="0">
                <a:latin typeface="+mn-lt"/>
                <a:cs typeface="+mn-cs"/>
              </a:rPr>
              <a:t>XIV</a:t>
            </a:r>
            <a:r>
              <a:rPr lang="ru-RU" sz="1400" kern="0" dirty="0">
                <a:latin typeface="+mn-lt"/>
                <a:cs typeface="+mn-cs"/>
              </a:rPr>
              <a:t> Московской международной книжной выставки – ярмарки</a:t>
            </a:r>
          </a:p>
          <a:p>
            <a:pPr marL="342900" indent="-342900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Tx/>
              <a:buChar char="•"/>
              <a:defRPr/>
            </a:pPr>
            <a:endParaRPr lang="ru-RU" sz="1400" kern="0" dirty="0">
              <a:latin typeface="+mn-lt"/>
              <a:cs typeface="+mn-cs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истема учебно-методических комплектов</a:t>
            </a:r>
            <a:br>
              <a:rPr lang="ru-RU" dirty="0" smtClean="0"/>
            </a:br>
            <a:r>
              <a:rPr lang="ru-RU" dirty="0" smtClean="0"/>
              <a:t> « Начальная школа ХХ</a:t>
            </a:r>
            <a:r>
              <a:rPr lang="en-US" dirty="0" smtClean="0"/>
              <a:t>I </a:t>
            </a:r>
            <a:r>
              <a:rPr lang="ru-RU" dirty="0" smtClean="0"/>
              <a:t>века»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910" y="103188"/>
            <a:ext cx="8043890" cy="1039796"/>
          </a:xfrm>
        </p:spPr>
        <p:txBody>
          <a:bodyPr/>
          <a:lstStyle/>
          <a:p>
            <a:r>
              <a:rPr lang="ru-RU" dirty="0" smtClean="0"/>
              <a:t>Образовательные област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2844" y="1285860"/>
            <a:ext cx="5143536" cy="4770453"/>
          </a:xfrm>
        </p:spPr>
        <p:txBody>
          <a:bodyPr>
            <a:normAutofit fontScale="25000" lnSpcReduction="20000"/>
          </a:bodyPr>
          <a:lstStyle/>
          <a:p>
            <a:pPr fontAlgn="t"/>
            <a:endParaRPr lang="ru-RU" b="1" dirty="0" smtClean="0"/>
          </a:p>
          <a:p>
            <a:pPr fontAlgn="t"/>
            <a:endParaRPr lang="ru-RU" sz="3200" b="1" dirty="0" smtClean="0"/>
          </a:p>
          <a:p>
            <a:pPr fontAlgn="t"/>
            <a:endParaRPr lang="ru-RU" sz="3200" b="1" dirty="0" smtClean="0"/>
          </a:p>
          <a:p>
            <a:pPr fontAlgn="t"/>
            <a:endParaRPr lang="ru-RU" sz="3200" b="1" dirty="0" smtClean="0"/>
          </a:p>
          <a:p>
            <a:pPr fontAlgn="t"/>
            <a:r>
              <a:rPr lang="ru-RU" sz="4800" b="1" u="sng" dirty="0" smtClean="0"/>
              <a:t>СОЦИАЛЬНО- КОММУНИКАТИВНОЕ РАЗВИТИЕ</a:t>
            </a:r>
            <a:endParaRPr lang="ru-RU" sz="4800" u="sng" dirty="0" smtClean="0"/>
          </a:p>
          <a:p>
            <a:pPr fontAlgn="t">
              <a:buNone/>
            </a:pPr>
            <a:r>
              <a:rPr lang="ru-RU" sz="4800" b="1" dirty="0" smtClean="0"/>
              <a:t> </a:t>
            </a:r>
          </a:p>
          <a:p>
            <a:pPr fontAlgn="t">
              <a:buNone/>
            </a:pPr>
            <a:r>
              <a:rPr lang="ru-RU" sz="4800" dirty="0" smtClean="0"/>
              <a:t>     «Познаем других людей и себя», «Познаем мир», «Учимся родному языку», «Играем и фантазируем»</a:t>
            </a:r>
          </a:p>
          <a:p>
            <a:pPr fontAlgn="t"/>
            <a:endParaRPr lang="ru-RU" sz="4400" b="1" dirty="0" smtClean="0"/>
          </a:p>
          <a:p>
            <a:pPr fontAlgn="t"/>
            <a:endParaRPr lang="ru-RU" sz="4400" b="1" dirty="0" smtClean="0"/>
          </a:p>
          <a:p>
            <a:pPr fontAlgn="t"/>
            <a:r>
              <a:rPr lang="ru-RU" sz="4400" b="1" u="sng" dirty="0" smtClean="0"/>
              <a:t>ПОЗНАВАТЕЛЬНОЕ РАЗВИТИЕ</a:t>
            </a:r>
          </a:p>
          <a:p>
            <a:pPr fontAlgn="t"/>
            <a:endParaRPr lang="en-US" sz="4400" dirty="0" smtClean="0"/>
          </a:p>
          <a:p>
            <a:pPr fontAlgn="t">
              <a:buNone/>
            </a:pPr>
            <a:r>
              <a:rPr lang="ru-RU" sz="4800" dirty="0" smtClean="0"/>
              <a:t>      «Учимся думать, рассуждать, фантазировать»; «Познаем мир»</a:t>
            </a:r>
          </a:p>
          <a:p>
            <a:pPr fontAlgn="t"/>
            <a:endParaRPr lang="ru-RU" sz="4400" b="1" dirty="0" smtClean="0"/>
          </a:p>
          <a:p>
            <a:pPr fontAlgn="t"/>
            <a:r>
              <a:rPr lang="ru-RU" sz="4400" b="1" u="sng" dirty="0" smtClean="0"/>
              <a:t>РЕЧЕВОЕ РАЗВИТИЕ</a:t>
            </a:r>
          </a:p>
          <a:p>
            <a:pPr fontAlgn="t"/>
            <a:endParaRPr lang="en-US" sz="4400" dirty="0" smtClean="0"/>
          </a:p>
          <a:p>
            <a:pPr fontAlgn="t">
              <a:buNone/>
            </a:pPr>
            <a:r>
              <a:rPr lang="ru-RU" sz="4800" dirty="0" smtClean="0"/>
              <a:t>«Познаем мир», «Учимся родному языку»</a:t>
            </a:r>
          </a:p>
          <a:p>
            <a:pPr fontAlgn="t"/>
            <a:endParaRPr lang="ru-RU" sz="4400" b="1" dirty="0" smtClean="0"/>
          </a:p>
          <a:p>
            <a:pPr fontAlgn="t"/>
            <a:r>
              <a:rPr lang="ru-RU" sz="4400" b="1" u="sng" dirty="0" smtClean="0"/>
              <a:t>ХУДОЖЕСТВЕННО- ЭСТЕТИЧЕСКОЕ  РАЗВИТИЕ</a:t>
            </a:r>
          </a:p>
          <a:p>
            <a:pPr fontAlgn="t"/>
            <a:endParaRPr lang="en-US" sz="4400" dirty="0" smtClean="0"/>
          </a:p>
          <a:p>
            <a:pPr fontAlgn="t">
              <a:buNone/>
            </a:pPr>
            <a:r>
              <a:rPr lang="ru-RU" sz="4800" dirty="0" smtClean="0"/>
              <a:t>«Познаем мир», «Учимся рисовать», «Знакомимся с музыкой», </a:t>
            </a:r>
          </a:p>
          <a:p>
            <a:pPr fontAlgn="t">
              <a:buNone/>
            </a:pPr>
            <a:r>
              <a:rPr lang="ru-RU" sz="4800" dirty="0" smtClean="0"/>
              <a:t>«Играем и фантазируем», </a:t>
            </a:r>
          </a:p>
          <a:p>
            <a:pPr fontAlgn="t">
              <a:buNone/>
            </a:pPr>
            <a:r>
              <a:rPr lang="ru-RU" sz="4800" dirty="0" smtClean="0"/>
              <a:t>«Знакомимся с художественной литературой и фольклором»</a:t>
            </a:r>
          </a:p>
          <a:p>
            <a:pPr fontAlgn="t"/>
            <a:endParaRPr lang="ru-RU" sz="4400" b="1" dirty="0" smtClean="0"/>
          </a:p>
          <a:p>
            <a:pPr fontAlgn="t"/>
            <a:r>
              <a:rPr lang="ru-RU" sz="4400" b="1" u="sng" dirty="0" smtClean="0"/>
              <a:t>ФИЗИЧЕСКОЕ РАЗВИТИЕ</a:t>
            </a:r>
          </a:p>
          <a:p>
            <a:pPr fontAlgn="t"/>
            <a:endParaRPr lang="en-US" sz="4400" dirty="0" smtClean="0"/>
          </a:p>
          <a:p>
            <a:pPr fontAlgn="t">
              <a:buNone/>
            </a:pPr>
            <a:r>
              <a:rPr lang="ru-RU" sz="4800" dirty="0" smtClean="0"/>
              <a:t>«Учимся быть здоровыми», «Познаем других людей и себя», «Познаем мир», «Играем и фантазируем»</a:t>
            </a:r>
          </a:p>
          <a:p>
            <a:endParaRPr lang="ru-RU" sz="4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429256" y="1600200"/>
            <a:ext cx="3257544" cy="4456113"/>
          </a:xfrm>
        </p:spPr>
        <p:txBody>
          <a:bodyPr>
            <a:normAutofit/>
          </a:bodyPr>
          <a:lstStyle/>
          <a:p>
            <a:endParaRPr lang="ru-RU" dirty="0"/>
          </a:p>
        </p:txBody>
      </p:sp>
      <p:pic>
        <p:nvPicPr>
          <p:cNvPr id="5" name="Picture 4" descr="443_1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00694" y="1643050"/>
            <a:ext cx="3153710" cy="440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0958" y="142852"/>
            <a:ext cx="1396980" cy="1251302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03188"/>
            <a:ext cx="8686801" cy="1039796"/>
          </a:xfrm>
        </p:spPr>
        <p:txBody>
          <a:bodyPr/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имся родному языку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257544" cy="3614750"/>
          </a:xfrm>
        </p:spPr>
        <p:txBody>
          <a:bodyPr>
            <a:normAutofit fontScale="70000" lnSpcReduction="20000"/>
          </a:bodyPr>
          <a:lstStyle/>
          <a:p>
            <a:pPr marL="548640" indent="-411480" fontAlgn="auto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обогащение активного словаря ребенка, связной речи</a:t>
            </a:r>
          </a:p>
          <a:p>
            <a:pPr marL="548640" indent="-411480" fontAlgn="auto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умений составлять описательный, повествовательный рассказ,  рассказ- рассуждение</a:t>
            </a:r>
          </a:p>
          <a:p>
            <a:pPr marL="548640" indent="-411480" fontAlgn="auto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е специальной подготовки к изучению русского языка в школе, обучение чтению и подготовка руки к письму</a:t>
            </a:r>
          </a:p>
          <a:p>
            <a:pPr marL="548640" indent="-411480" fontAlgn="auto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фантазии, воображения, словесного творчества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86248" y="1600200"/>
            <a:ext cx="4714908" cy="4456113"/>
          </a:xfrm>
        </p:spPr>
        <p:txBody>
          <a:bodyPr>
            <a:normAutofit/>
          </a:bodyPr>
          <a:lstStyle/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графической деятельности детей - рисование, копирование образцов ( букв, цифр,</a:t>
            </a:r>
            <a:r>
              <a:rPr lang="en-US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еометрических фигур и др.)</a:t>
            </a:r>
            <a:endParaRPr lang="en-US" sz="160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умений ряда умений :</a:t>
            </a: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странственная ориентировка;</a:t>
            </a: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мение анализировать форму предмета и изображение;</a:t>
            </a: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воображения;</a:t>
            </a: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воение ряда специфических средств художественной</a:t>
            </a:r>
            <a:endParaRPr lang="en-US" sz="160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48640" indent="-411480">
              <a:lnSpc>
                <a:spcPct val="9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6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разительности.</a:t>
            </a:r>
            <a:endParaRPr lang="ru-RU" sz="1600" dirty="0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71934" y="142852"/>
            <a:ext cx="1314468" cy="117739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5715008" y="642918"/>
            <a:ext cx="34289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Times New Roman" pitchFamily="18" charset="0"/>
              </a:rPr>
              <a:t>Учимся рисовать</a:t>
            </a:r>
            <a:endParaRPr lang="ru-RU" sz="2800" dirty="0">
              <a:solidFill>
                <a:schemeClr val="bg1"/>
              </a:solidFill>
            </a:endParaRPr>
          </a:p>
        </p:txBody>
      </p:sp>
      <p:pic>
        <p:nvPicPr>
          <p:cNvPr id="7" name="Picture 6" descr="448_1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4357694"/>
            <a:ext cx="1098509" cy="1516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 descr="447_1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42976" y="4572008"/>
            <a:ext cx="1143008" cy="1524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 descr="45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57422" y="4286256"/>
            <a:ext cx="1123164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44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43240" y="4572008"/>
            <a:ext cx="1143008" cy="15230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 descr="798_10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786314" y="4429132"/>
            <a:ext cx="1204929" cy="1574388"/>
          </a:xfrm>
          <a:prstGeom prst="rect">
            <a:avLst/>
          </a:prstGeom>
          <a:noFill/>
          <a:ln w="28575">
            <a:solidFill>
              <a:srgbClr val="000066"/>
            </a:solidFill>
            <a:miter lim="800000"/>
            <a:headEnd/>
            <a:tailEnd/>
          </a:ln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00760" y="5500702"/>
            <a:ext cx="1570059" cy="1199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oup 10"/>
          <p:cNvGrpSpPr>
            <a:grpSpLocks/>
          </p:cNvGrpSpPr>
          <p:nvPr/>
        </p:nvGrpSpPr>
        <p:grpSpPr bwMode="auto">
          <a:xfrm>
            <a:off x="6143636" y="4572008"/>
            <a:ext cx="2000264" cy="1422414"/>
            <a:chOff x="295" y="2069"/>
            <a:chExt cx="2267" cy="1569"/>
          </a:xfrm>
        </p:grpSpPr>
        <p:pic>
          <p:nvPicPr>
            <p:cNvPr id="15" name="Picture 4" descr="801_100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95" y="2069"/>
              <a:ext cx="1451" cy="1117"/>
            </a:xfrm>
            <a:prstGeom prst="rect">
              <a:avLst/>
            </a:prstGeom>
            <a:noFill/>
            <a:ln w="28575">
              <a:solidFill>
                <a:srgbClr val="000066"/>
              </a:solidFill>
              <a:miter lim="800000"/>
              <a:headEnd/>
              <a:tailEnd/>
            </a:ln>
          </p:spPr>
        </p:pic>
        <p:pic>
          <p:nvPicPr>
            <p:cNvPr id="16" name="Picture 6" descr="800_100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111" y="2523"/>
              <a:ext cx="1451" cy="1115"/>
            </a:xfrm>
            <a:prstGeom prst="rect">
              <a:avLst/>
            </a:prstGeom>
            <a:noFill/>
            <a:ln w="28575">
              <a:solidFill>
                <a:srgbClr val="000066"/>
              </a:solidFill>
              <a:miter lim="800000"/>
              <a:headEnd/>
              <a:tailEnd/>
            </a:ln>
          </p:spPr>
        </p:pic>
      </p:grpSp>
      <p:pic>
        <p:nvPicPr>
          <p:cNvPr id="17" name="Picture 5" descr="Новое изображение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58148" y="4143380"/>
            <a:ext cx="1134748" cy="1484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" descr="823_10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715272" y="5072074"/>
            <a:ext cx="1143008" cy="1619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0" descr="435_10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43042" y="5143512"/>
            <a:ext cx="1464367" cy="1001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8" name="Picture 6" descr="446_1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29124" y="5381622"/>
            <a:ext cx="1157289" cy="1476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98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3927" y="617499"/>
            <a:ext cx="3395709" cy="446229"/>
          </a:xfrm>
        </p:spPr>
        <p:txBody>
          <a:bodyPr rtlCol="0" anchor="b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ru-RU" altLang="ru-RU" sz="2400" b="1" dirty="0">
                <a:latin typeface="Times New Roman" pitchFamily="18" charset="0"/>
                <a:ea typeface="+mn-ea"/>
                <a:cs typeface="Arial" pitchFamily="34" charset="0"/>
              </a:rPr>
              <a:t>Учимся думать, рассуждать, </a:t>
            </a:r>
            <a:r>
              <a:rPr lang="ru-RU" altLang="ru-RU" sz="2400" b="1" dirty="0" smtClean="0">
                <a:latin typeface="Times New Roman" pitchFamily="18" charset="0"/>
                <a:ea typeface="+mn-ea"/>
                <a:cs typeface="Arial" pitchFamily="34" charset="0"/>
              </a:rPr>
              <a:t/>
            </a:r>
            <a:br>
              <a:rPr lang="ru-RU" altLang="ru-RU" sz="2400" b="1" dirty="0" smtClean="0">
                <a:latin typeface="Times New Roman" pitchFamily="18" charset="0"/>
                <a:ea typeface="+mn-ea"/>
                <a:cs typeface="Arial" pitchFamily="34" charset="0"/>
              </a:rPr>
            </a:br>
            <a:r>
              <a:rPr lang="ru-RU" altLang="ru-RU" sz="2400" b="1" dirty="0" smtClean="0">
                <a:latin typeface="Times New Roman" pitchFamily="18" charset="0"/>
                <a:ea typeface="+mn-ea"/>
                <a:cs typeface="Arial" pitchFamily="34" charset="0"/>
              </a:rPr>
              <a:t>фантазировать</a:t>
            </a:r>
            <a:endParaRPr lang="ru-RU" sz="2400" b="1" i="1" dirty="0">
              <a:latin typeface="Times New Roman" pitchFamily="18" charset="0"/>
            </a:endParaRPr>
          </a:p>
        </p:txBody>
      </p:sp>
      <p:pic>
        <p:nvPicPr>
          <p:cNvPr id="49157" name="Picture 4" descr="749_100"/>
          <p:cNvPicPr>
            <a:picLocks noGrp="1" noChangeAspect="1" noChangeArrowheads="1"/>
          </p:cNvPicPr>
          <p:nvPr>
            <p:ph type="body" sz="half"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285720" y="4071942"/>
            <a:ext cx="1152301" cy="1498621"/>
          </a:xfrm>
        </p:spPr>
      </p:pic>
      <p:pic>
        <p:nvPicPr>
          <p:cNvPr id="49165" name="Picture 9" descr="750_1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596" y="5324455"/>
            <a:ext cx="1188813" cy="1533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67" name="Picture 11" descr="986_1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43042" y="4071942"/>
            <a:ext cx="1108082" cy="154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57620" y="0"/>
            <a:ext cx="1521237" cy="1362601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6178571" y="179343"/>
            <a:ext cx="23368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latin typeface="Times New Roman" pitchFamily="18" charset="0"/>
                <a:cs typeface="Arial" pitchFamily="34" charset="0"/>
              </a:rPr>
              <a:t>Познаем других </a:t>
            </a:r>
          </a:p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latin typeface="Times New Roman" pitchFamily="18" charset="0"/>
                <a:cs typeface="Arial" pitchFamily="34" charset="0"/>
              </a:rPr>
              <a:t>людей и себя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786314" y="1500174"/>
            <a:ext cx="435768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8640" indent="-411480" eaLnBrk="1" fontAlgn="auto" hangingPunct="1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знаний   необходимых для осознания своей  принадлежности  к обществу, понимания  самого себя, своих способностей и   возможностей</a:t>
            </a:r>
          </a:p>
          <a:p>
            <a:pPr marL="548640" indent="-411480" eaLnBrk="1" fontAlgn="auto" hangingPunct="1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умения управлять своими эмоциями, контролировать и оценивать свою деятельность и   поведение, соотносить результаты с эталоном</a:t>
            </a:r>
          </a:p>
          <a:p>
            <a:pPr marL="548640" indent="-411480" eaLnBrk="1" fontAlgn="auto" hangingPunct="1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знакомление ребенка со своим организмом, правилами охраны органов чувств, навыками гигиены</a:t>
            </a:r>
          </a:p>
          <a:p>
            <a:pPr marL="548640" indent="-411480" eaLnBrk="1" fontAlgn="auto" hangingPunct="1">
              <a:lnSpc>
                <a:spcPct val="80000"/>
              </a:lnSpc>
              <a:spcAft>
                <a:spcPts val="0"/>
              </a:spcAft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ние доброжелательного , внимательного отношения к людям и окружающему миру, развитие навыков общения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Picture 4" descr="896_1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86710" y="4143380"/>
            <a:ext cx="1215292" cy="1570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7" descr="752_1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29388" y="4143380"/>
            <a:ext cx="1209763" cy="164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9" name="Picture 12" descr="754_1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286248" y="4071942"/>
            <a:ext cx="1071570" cy="1406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terehova.ya\Downloads\Документы\скаченные картинки\kniga_issleduem_svoystva_predmetov_posobie_dlya_detey_5_7_let_doshkolnoe_vospitanie_uchebnoe_posobie_kochurova_elena_eduardovna_609030_1474444732_1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928926" y="4071942"/>
            <a:ext cx="1089654" cy="1428760"/>
          </a:xfrm>
          <a:prstGeom prst="rect">
            <a:avLst/>
          </a:prstGeom>
          <a:noFill/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071802" y="5357802"/>
            <a:ext cx="1071570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3"/>
          <a:srcRect l="9593" t="48299" r="68941" b="10663"/>
          <a:stretch>
            <a:fillRect/>
          </a:stretch>
        </p:blipFill>
        <p:spPr bwMode="auto">
          <a:xfrm>
            <a:off x="5857884" y="5000636"/>
            <a:ext cx="1143008" cy="163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5" descr="444_100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358082" y="5072074"/>
            <a:ext cx="1123487" cy="1570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66" name="Picture 10" descr="985_1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643306" y="4643446"/>
            <a:ext cx="1052509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64" name="Picture 5" descr="75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14480" y="5360967"/>
            <a:ext cx="1146718" cy="1497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/>
        </p:nvSpPr>
        <p:spPr>
          <a:xfrm>
            <a:off x="214282" y="1428736"/>
            <a:ext cx="4572000" cy="26130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8640" indent="-411480">
              <a:lnSpc>
                <a:spcPct val="7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ознание детьми некоторых доступных связей(причинных, временных, последовательных) между предметами и объектами окружающего мира;</a:t>
            </a:r>
          </a:p>
          <a:p>
            <a:pPr marL="548640" indent="-411480">
              <a:lnSpc>
                <a:spcPct val="7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моделирующей деятельности как основы для формирования наглядно-образного и логического мышления;</a:t>
            </a:r>
          </a:p>
          <a:p>
            <a:pPr marL="548640" indent="-411480">
              <a:lnSpc>
                <a:spcPct val="70000"/>
              </a:lnSpc>
              <a:buClr>
                <a:srgbClr val="660033"/>
              </a:buClr>
              <a:buFont typeface="Courier New" pitchFamily="49" charset="0"/>
              <a:buChar char="o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еспечение специальной подготовки к учебным предметам начальной школы –  к «Русскому языку», «Математике», «Окружающему миру»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14B532-7560-49DD-AB97-9F064E6E063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graphicFrame>
        <p:nvGraphicFramePr>
          <p:cNvPr id="5" name="Group 3"/>
          <p:cNvGraphicFramePr>
            <a:graphicFrameLocks noGrp="1"/>
          </p:cNvGraphicFramePr>
          <p:nvPr>
            <p:ph sz="quarter" idx="10"/>
          </p:nvPr>
        </p:nvGraphicFramePr>
        <p:xfrm>
          <a:off x="409518" y="982629"/>
          <a:ext cx="8434503" cy="507137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6353262"/>
                <a:gridCol w="2081241"/>
              </a:tblGrid>
              <a:tr h="83979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Показатели когнитивного развития</a:t>
                      </a:r>
                      <a:endParaRPr kumimoji="0" lang="ru-RU" sz="2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Кол-во детей с несформированной функцией, %</a:t>
                      </a:r>
                      <a:endParaRPr kumimoji="0" lang="ru-RU" sz="17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322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Организация деятельности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60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322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ечь</a:t>
                      </a: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Внимание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</a:rPr>
                        <a:t>40-60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амять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-40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83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торное развитие, в т.ч. мелкой моторики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-35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рительное восприятие, зрительная память</a:t>
                      </a:r>
                      <a:endParaRPr kumimoji="0" lang="ru-RU" sz="17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-35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рительно-пространственное восприятие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-35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рительно-моторные интеграции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-35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  <a:tr h="459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ий запас сведений и знаний, способность к анализу, синтезу, классификации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-15</a:t>
                      </a:r>
                      <a:endParaRPr kumimoji="0" lang="ru-RU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6718" marR="96718" horzOverflow="overflow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286000" y="3214685"/>
            <a:ext cx="714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28596" y="0"/>
            <a:ext cx="84296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Познавательное (когнитивное) развитие детей, поступающих в 1 класс  (2012 – 2015гг.)</a:t>
            </a:r>
            <a:endParaRPr lang="ru-RU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Шаблон презентации РУ 4х3 fin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У 4х3 fin</Template>
  <TotalTime>252</TotalTime>
  <Words>2837</Words>
  <Application>Microsoft Macintosh PowerPoint</Application>
  <PresentationFormat>Экран (4:3)</PresentationFormat>
  <Paragraphs>407</Paragraphs>
  <Slides>45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5</vt:i4>
      </vt:variant>
    </vt:vector>
  </HeadingPairs>
  <TitlesOfParts>
    <vt:vector size="47" baseType="lpstr">
      <vt:lpstr>Шаблон презентации РУ 4х3 fin</vt:lpstr>
      <vt:lpstr>Объект упаковщика для оболочки</vt:lpstr>
      <vt:lpstr>Слайд 1</vt:lpstr>
      <vt:lpstr>Издательствами, входящими в корпорацию «Российский учебник», выпускается 42% наименований учебников из Федерального перечня</vt:lpstr>
      <vt:lpstr>Проектирование и анализ курса Обучение грамоте в условиях реализации ФГОС</vt:lpstr>
      <vt:lpstr>Система  учебно-методических  комплектов   </vt:lpstr>
      <vt:lpstr>Система учебно-методических комплектов  « Начальная школа ХХI века»</vt:lpstr>
      <vt:lpstr>Образовательные области</vt:lpstr>
      <vt:lpstr>Учимся родному языку</vt:lpstr>
      <vt:lpstr>Учимся думать, рассуждать,  фантазировать</vt:lpstr>
      <vt:lpstr>Слайд 9</vt:lpstr>
      <vt:lpstr>   </vt:lpstr>
      <vt:lpstr>Как можно научить детей решать любую  практическую задачу как учебную</vt:lpstr>
      <vt:lpstr>Особенности формирования лингвистических представлений в процессе работы по «Букварю»</vt:lpstr>
      <vt:lpstr>Слайд 13</vt:lpstr>
      <vt:lpstr>Когда Ваши ученики уже узнают о том, что предложение состоит из слов, очень полезно провести с ними игру  «Живые модели».</vt:lpstr>
      <vt:lpstr>Проводим звуковой анализ слов</vt:lpstr>
      <vt:lpstr>Слайд 16</vt:lpstr>
      <vt:lpstr>Проводим звуковой анализ слов</vt:lpstr>
      <vt:lpstr>Проводим звуковой анализ слов</vt:lpstr>
      <vt:lpstr>Учим буквы</vt:lpstr>
      <vt:lpstr>Первое знакомство со звуком Й</vt:lpstr>
      <vt:lpstr>Учим буквы</vt:lpstr>
      <vt:lpstr>  Приучайте их давать очень чёткие формулировки:  если в слове после мягкого согласного звука слышится звук [а] ([о], [у], [э]),  он никогда не обозначается буквой а (о, у, е), а обозначается буквой я (ё,ю, е).  Буква я (ё, ю, е) обозначает звук [а] ([о], [у], [э]) после мягкого согласного звука. </vt:lpstr>
      <vt:lpstr>Преобразование одного слова  в другое путём замены буквы</vt:lpstr>
      <vt:lpstr>Словоизменение</vt:lpstr>
      <vt:lpstr>В «Букваре» и в «Прописях» по мере усвоения материала появляется всё больше заданий, направленных на формирование самоконтроля и самооценки</vt:lpstr>
      <vt:lpstr>Учимся читать</vt:lpstr>
      <vt:lpstr>Учимся читать</vt:lpstr>
      <vt:lpstr>Очень полезно давать иногда задание, не имеющее решения.  Например, при соотнесении рисунков с моделями слов (таких заданий в учебнике много) дать такую модель, которой не соответствует ни один рисунок (слово).</vt:lpstr>
      <vt:lpstr>Учимся играя</vt:lpstr>
      <vt:lpstr>Графический навык — это определённые привычные положения и движения пишущей руки,  позволяющие изображать письменные знаки и их соединения.</vt:lpstr>
      <vt:lpstr>Обучение письму не мучение, а радость </vt:lpstr>
      <vt:lpstr>Предпосылки овладения письмом: </vt:lpstr>
      <vt:lpstr>Подготовка к обучению письму</vt:lpstr>
      <vt:lpstr>Основной упор делается на следующие приёмы обучения: </vt:lpstr>
      <vt:lpstr>Особенности обучения письму в процессе работы по тетрадям «Прописи»</vt:lpstr>
      <vt:lpstr>Слайд 36</vt:lpstr>
      <vt:lpstr>Действия, которые должен выполнить  ребёнок, пишущий какое-либо слово.</vt:lpstr>
      <vt:lpstr>Обязательна одинаковая последовательность работы при изучении буквы:</vt:lpstr>
      <vt:lpstr>Этапы обучения письму</vt:lpstr>
      <vt:lpstr>Дифференцированная работа при обучении чтению и письму </vt:lpstr>
      <vt:lpstr>Дифференцированная работа при обучении чтению и письму </vt:lpstr>
      <vt:lpstr>При работе с детьми с низким уровнем готовности к школе необходимо постоянно привлекать их внимание к артикуляции выделяемых звуков.</vt:lpstr>
      <vt:lpstr>Слайд 43</vt:lpstr>
      <vt:lpstr>   Комплексная научно-методическая поддержка и сопровождение педагогов на сайте  http://drofa-ventana.ru/  </vt:lpstr>
      <vt:lpstr>   Современный цифровой контент  https://lecta.ru/ 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Terehova</dc:creator>
  <cp:lastModifiedBy>Admin</cp:lastModifiedBy>
  <cp:revision>15</cp:revision>
  <dcterms:created xsi:type="dcterms:W3CDTF">2017-06-02T11:50:08Z</dcterms:created>
  <dcterms:modified xsi:type="dcterms:W3CDTF">2017-06-06T05:24:07Z</dcterms:modified>
</cp:coreProperties>
</file>